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diagrams/data5.xml" ContentType="application/vnd.openxmlformats-officedocument.drawingml.diagramData+xml"/>
  <Override PartName="/ppt/diagrams/data4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sldIdLst>
    <p:sldId id="264" r:id="rId2"/>
    <p:sldId id="267" r:id="rId3"/>
    <p:sldId id="268" r:id="rId4"/>
    <p:sldId id="269" r:id="rId5"/>
    <p:sldId id="271" r:id="rId6"/>
    <p:sldId id="272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5C"/>
    <a:srgbClr val="009ADE"/>
    <a:srgbClr val="DDEFF9"/>
    <a:srgbClr val="C9DDF3"/>
    <a:srgbClr val="79B5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94"/>
  </p:normalViewPr>
  <p:slideViewPr>
    <p:cSldViewPr snapToGrid="0" snapToObjects="1">
      <p:cViewPr varScale="1">
        <p:scale>
          <a:sx n="110" d="100"/>
          <a:sy n="110" d="100"/>
        </p:scale>
        <p:origin x="4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customXml" Target="../customXml/item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E6AD57-168E-49CC-B015-4DE25457EA3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3D4B76F1-0296-4277-A4CC-932FCABC9301}">
      <dgm:prSet/>
      <dgm:spPr/>
      <dgm:t>
        <a:bodyPr/>
        <a:lstStyle/>
        <a:p>
          <a:r>
            <a:rPr lang="en-US" dirty="0"/>
            <a:t>IATI (International Aid Transparency Initiative) founded in 2012 to promote transparency</a:t>
          </a:r>
          <a:endParaRPr lang="fr-CH" dirty="0"/>
        </a:p>
      </dgm:t>
    </dgm:pt>
    <dgm:pt modelId="{610281CE-A63D-48ED-9201-3251DDCEC88B}" type="parTrans" cxnId="{5C588164-AD7A-46F1-9EC0-7E9B6A9BCAF9}">
      <dgm:prSet/>
      <dgm:spPr/>
      <dgm:t>
        <a:bodyPr/>
        <a:lstStyle/>
        <a:p>
          <a:endParaRPr lang="fr-CH"/>
        </a:p>
      </dgm:t>
    </dgm:pt>
    <dgm:pt modelId="{9A2A27A3-1CFE-4C0C-867D-67A6A00E156B}" type="sibTrans" cxnId="{5C588164-AD7A-46F1-9EC0-7E9B6A9BCAF9}">
      <dgm:prSet/>
      <dgm:spPr/>
      <dgm:t>
        <a:bodyPr/>
        <a:lstStyle/>
        <a:p>
          <a:endParaRPr lang="fr-CH"/>
        </a:p>
      </dgm:t>
    </dgm:pt>
    <dgm:pt modelId="{91E8557D-4A1E-4228-86F6-F81B1DD21F7E}">
      <dgm:prSet custT="1"/>
      <dgm:spPr>
        <a:solidFill>
          <a:srgbClr val="0099DD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76200" tIns="76200" rIns="76200" bIns="76200" numCol="1" spcCol="1270" anchor="ctr" anchorCtr="0"/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Developed a common standard (similar to ISO ones in spirit) for publishers to make their data available</a:t>
          </a:r>
          <a:endParaRPr lang="fr-CH" sz="2000" kern="1200" dirty="0">
            <a:solidFill>
              <a:srgbClr val="FFFFFF"/>
            </a:solidFill>
            <a:latin typeface="Calibri" panose="020F0502020204030204"/>
            <a:ea typeface="+mn-ea"/>
            <a:cs typeface="+mn-cs"/>
          </a:endParaRPr>
        </a:p>
      </dgm:t>
    </dgm:pt>
    <dgm:pt modelId="{320D511E-8C8A-41D3-BA62-D6FF6ABA5A66}" type="parTrans" cxnId="{A0246BF9-15D9-4ACB-9349-C90241104FBB}">
      <dgm:prSet/>
      <dgm:spPr/>
      <dgm:t>
        <a:bodyPr/>
        <a:lstStyle/>
        <a:p>
          <a:endParaRPr lang="fr-CH"/>
        </a:p>
      </dgm:t>
    </dgm:pt>
    <dgm:pt modelId="{ED57265A-1B71-4BCD-95F1-FBCE47139016}" type="sibTrans" cxnId="{A0246BF9-15D9-4ACB-9349-C90241104FBB}">
      <dgm:prSet/>
      <dgm:spPr/>
      <dgm:t>
        <a:bodyPr/>
        <a:lstStyle/>
        <a:p>
          <a:endParaRPr lang="fr-CH"/>
        </a:p>
      </dgm:t>
    </dgm:pt>
    <dgm:pt modelId="{7A46852F-58EC-4A05-96BE-FB70E1826C09}">
      <dgm:prSet/>
      <dgm:spPr/>
      <dgm:t>
        <a:bodyPr/>
        <a:lstStyle/>
        <a:p>
          <a:r>
            <a:rPr lang="en-US" dirty="0"/>
            <a:t>Currently has 1,400+ publishers (ranging from governmental agencies, multilateral, NGOs, philanthropic foundations... ) </a:t>
          </a:r>
          <a:endParaRPr lang="fr-CH" dirty="0"/>
        </a:p>
      </dgm:t>
    </dgm:pt>
    <dgm:pt modelId="{43AF5E46-4F8D-4EAB-8D42-B2FE25C48863}" type="parTrans" cxnId="{D26C993B-93F4-47CB-BCF9-56B494E5360A}">
      <dgm:prSet/>
      <dgm:spPr/>
      <dgm:t>
        <a:bodyPr/>
        <a:lstStyle/>
        <a:p>
          <a:endParaRPr lang="fr-CH"/>
        </a:p>
      </dgm:t>
    </dgm:pt>
    <dgm:pt modelId="{C86EEAB0-1D4C-40A4-A605-233ADA48104A}" type="sibTrans" cxnId="{D26C993B-93F4-47CB-BCF9-56B494E5360A}">
      <dgm:prSet/>
      <dgm:spPr/>
      <dgm:t>
        <a:bodyPr/>
        <a:lstStyle/>
        <a:p>
          <a:endParaRPr lang="fr-CH"/>
        </a:p>
      </dgm:t>
    </dgm:pt>
    <dgm:pt modelId="{89DD0CAF-F92A-43E2-AB8C-1A6F3C8C784F}">
      <dgm:prSet/>
      <dgm:spPr/>
      <dgm:t>
        <a:bodyPr/>
        <a:lstStyle/>
        <a:p>
          <a:r>
            <a:rPr lang="en-US"/>
            <a:t>Data should be at country and activity level (output for WHO) </a:t>
          </a:r>
          <a:endParaRPr lang="fr-CH"/>
        </a:p>
      </dgm:t>
    </dgm:pt>
    <dgm:pt modelId="{D6FD8A69-AC7B-4511-891F-85CEFD685905}" type="parTrans" cxnId="{0705B51B-A3D5-43A0-A0FF-AF8E1718BBF7}">
      <dgm:prSet/>
      <dgm:spPr/>
      <dgm:t>
        <a:bodyPr/>
        <a:lstStyle/>
        <a:p>
          <a:endParaRPr lang="fr-CH"/>
        </a:p>
      </dgm:t>
    </dgm:pt>
    <dgm:pt modelId="{39A65353-560A-4B0A-8EFA-DD968AC71756}" type="sibTrans" cxnId="{0705B51B-A3D5-43A0-A0FF-AF8E1718BBF7}">
      <dgm:prSet/>
      <dgm:spPr/>
      <dgm:t>
        <a:bodyPr/>
        <a:lstStyle/>
        <a:p>
          <a:endParaRPr lang="fr-CH"/>
        </a:p>
      </dgm:t>
    </dgm:pt>
    <dgm:pt modelId="{B058139A-6A4B-4CC1-8803-C879D238665E}">
      <dgm:prSet/>
      <dgm:spPr/>
      <dgm:t>
        <a:bodyPr/>
        <a:lstStyle/>
        <a:p>
          <a:r>
            <a:rPr lang="en-US" dirty="0"/>
            <a:t>Aid Transparency Index is performed by Publish What You Fund, an NGO using on a biannual basis</a:t>
          </a:r>
          <a:endParaRPr lang="fr-CH" dirty="0"/>
        </a:p>
      </dgm:t>
    </dgm:pt>
    <dgm:pt modelId="{19E70268-1A84-43D9-9905-B4F0B90BF9E4}" type="parTrans" cxnId="{91509126-ADD5-479E-B1DD-326D20BB3884}">
      <dgm:prSet/>
      <dgm:spPr/>
      <dgm:t>
        <a:bodyPr/>
        <a:lstStyle/>
        <a:p>
          <a:endParaRPr lang="fr-CH"/>
        </a:p>
      </dgm:t>
    </dgm:pt>
    <dgm:pt modelId="{08E1C4F0-159B-45C8-BBE6-E87CAE3AB8D1}" type="sibTrans" cxnId="{91509126-ADD5-479E-B1DD-326D20BB3884}">
      <dgm:prSet/>
      <dgm:spPr/>
      <dgm:t>
        <a:bodyPr/>
        <a:lstStyle/>
        <a:p>
          <a:endParaRPr lang="fr-CH"/>
        </a:p>
      </dgm:t>
    </dgm:pt>
    <dgm:pt modelId="{60CAEF97-4CAB-41C4-B167-4B7514F07431}" type="pres">
      <dgm:prSet presAssocID="{00E6AD57-168E-49CC-B015-4DE25457EA3A}" presName="linear" presStyleCnt="0">
        <dgm:presLayoutVars>
          <dgm:animLvl val="lvl"/>
          <dgm:resizeHandles val="exact"/>
        </dgm:presLayoutVars>
      </dgm:prSet>
      <dgm:spPr/>
    </dgm:pt>
    <dgm:pt modelId="{2B6F5139-B81D-444F-B662-6EC6826894CB}" type="pres">
      <dgm:prSet presAssocID="{3D4B76F1-0296-4277-A4CC-932FCABC9301}" presName="parentText" presStyleLbl="node1" presStyleIdx="0" presStyleCnt="5" custScaleY="109983">
        <dgm:presLayoutVars>
          <dgm:chMax val="0"/>
          <dgm:bulletEnabled val="1"/>
        </dgm:presLayoutVars>
      </dgm:prSet>
      <dgm:spPr/>
    </dgm:pt>
    <dgm:pt modelId="{AD1C7529-1015-4BAA-8558-2E72AEA9EFDD}" type="pres">
      <dgm:prSet presAssocID="{9A2A27A3-1CFE-4C0C-867D-67A6A00E156B}" presName="spacer" presStyleCnt="0"/>
      <dgm:spPr/>
    </dgm:pt>
    <dgm:pt modelId="{292DCB8A-9FD6-4CA3-89C8-D5785DFBB2DA}" type="pres">
      <dgm:prSet presAssocID="{91E8557D-4A1E-4228-86F6-F81B1DD21F7E}" presName="parentText" presStyleLbl="node1" presStyleIdx="1" presStyleCnt="5">
        <dgm:presLayoutVars>
          <dgm:chMax val="0"/>
          <dgm:bulletEnabled val="1"/>
        </dgm:presLayoutVars>
      </dgm:prSet>
      <dgm:spPr>
        <a:xfrm>
          <a:off x="0" y="965293"/>
          <a:ext cx="11194869" cy="794503"/>
        </a:xfrm>
        <a:prstGeom prst="roundRect">
          <a:avLst/>
        </a:prstGeom>
      </dgm:spPr>
    </dgm:pt>
    <dgm:pt modelId="{EFC4C782-8E19-433D-9559-A0ED2F601F84}" type="pres">
      <dgm:prSet presAssocID="{ED57265A-1B71-4BCD-95F1-FBCE47139016}" presName="spacer" presStyleCnt="0"/>
      <dgm:spPr/>
    </dgm:pt>
    <dgm:pt modelId="{30B19454-7F28-40C7-BD48-031138C4C769}" type="pres">
      <dgm:prSet presAssocID="{7A46852F-58EC-4A05-96BE-FB70E1826C09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08896EED-0DF8-4565-A7E4-E55FDD7AAFCD}" type="pres">
      <dgm:prSet presAssocID="{C86EEAB0-1D4C-40A4-A605-233ADA48104A}" presName="spacer" presStyleCnt="0"/>
      <dgm:spPr/>
    </dgm:pt>
    <dgm:pt modelId="{7E5966DF-B195-4B7C-9DB1-4C4533F93DB8}" type="pres">
      <dgm:prSet presAssocID="{89DD0CAF-F92A-43E2-AB8C-1A6F3C8C784F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8FFAE54B-39EB-4FB8-B281-01E310634A72}" type="pres">
      <dgm:prSet presAssocID="{39A65353-560A-4B0A-8EFA-DD968AC71756}" presName="spacer" presStyleCnt="0"/>
      <dgm:spPr/>
    </dgm:pt>
    <dgm:pt modelId="{0BF17C04-7BA4-4153-A454-6993A57CA407}" type="pres">
      <dgm:prSet presAssocID="{B058139A-6A4B-4CC1-8803-C879D238665E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FFADFD1A-B32F-42F0-A4B6-F201C6125568}" type="presOf" srcId="{3D4B76F1-0296-4277-A4CC-932FCABC9301}" destId="{2B6F5139-B81D-444F-B662-6EC6826894CB}" srcOrd="0" destOrd="0" presId="urn:microsoft.com/office/officeart/2005/8/layout/vList2"/>
    <dgm:cxn modelId="{0705B51B-A3D5-43A0-A0FF-AF8E1718BBF7}" srcId="{00E6AD57-168E-49CC-B015-4DE25457EA3A}" destId="{89DD0CAF-F92A-43E2-AB8C-1A6F3C8C784F}" srcOrd="3" destOrd="0" parTransId="{D6FD8A69-AC7B-4511-891F-85CEFD685905}" sibTransId="{39A65353-560A-4B0A-8EFA-DD968AC71756}"/>
    <dgm:cxn modelId="{91509126-ADD5-479E-B1DD-326D20BB3884}" srcId="{00E6AD57-168E-49CC-B015-4DE25457EA3A}" destId="{B058139A-6A4B-4CC1-8803-C879D238665E}" srcOrd="4" destOrd="0" parTransId="{19E70268-1A84-43D9-9905-B4F0B90BF9E4}" sibTransId="{08E1C4F0-159B-45C8-BBE6-E87CAE3AB8D1}"/>
    <dgm:cxn modelId="{188A0432-17A8-4006-8873-85DCED266415}" type="presOf" srcId="{00E6AD57-168E-49CC-B015-4DE25457EA3A}" destId="{60CAEF97-4CAB-41C4-B167-4B7514F07431}" srcOrd="0" destOrd="0" presId="urn:microsoft.com/office/officeart/2005/8/layout/vList2"/>
    <dgm:cxn modelId="{D26C993B-93F4-47CB-BCF9-56B494E5360A}" srcId="{00E6AD57-168E-49CC-B015-4DE25457EA3A}" destId="{7A46852F-58EC-4A05-96BE-FB70E1826C09}" srcOrd="2" destOrd="0" parTransId="{43AF5E46-4F8D-4EAB-8D42-B2FE25C48863}" sibTransId="{C86EEAB0-1D4C-40A4-A605-233ADA48104A}"/>
    <dgm:cxn modelId="{3BDCFA41-1CBD-40BA-8499-BC50D82096DF}" type="presOf" srcId="{89DD0CAF-F92A-43E2-AB8C-1A6F3C8C784F}" destId="{7E5966DF-B195-4B7C-9DB1-4C4533F93DB8}" srcOrd="0" destOrd="0" presId="urn:microsoft.com/office/officeart/2005/8/layout/vList2"/>
    <dgm:cxn modelId="{5C588164-AD7A-46F1-9EC0-7E9B6A9BCAF9}" srcId="{00E6AD57-168E-49CC-B015-4DE25457EA3A}" destId="{3D4B76F1-0296-4277-A4CC-932FCABC9301}" srcOrd="0" destOrd="0" parTransId="{610281CE-A63D-48ED-9201-3251DDCEC88B}" sibTransId="{9A2A27A3-1CFE-4C0C-867D-67A6A00E156B}"/>
    <dgm:cxn modelId="{35A396B7-CCAA-4B59-A6A0-EA06B2F07857}" type="presOf" srcId="{91E8557D-4A1E-4228-86F6-F81B1DD21F7E}" destId="{292DCB8A-9FD6-4CA3-89C8-D5785DFBB2DA}" srcOrd="0" destOrd="0" presId="urn:microsoft.com/office/officeart/2005/8/layout/vList2"/>
    <dgm:cxn modelId="{1451F6D7-10A1-43C6-96C5-F45FF312C9FA}" type="presOf" srcId="{B058139A-6A4B-4CC1-8803-C879D238665E}" destId="{0BF17C04-7BA4-4153-A454-6993A57CA407}" srcOrd="0" destOrd="0" presId="urn:microsoft.com/office/officeart/2005/8/layout/vList2"/>
    <dgm:cxn modelId="{A0D184DD-405F-4632-9EE9-6783A2237EDF}" type="presOf" srcId="{7A46852F-58EC-4A05-96BE-FB70E1826C09}" destId="{30B19454-7F28-40C7-BD48-031138C4C769}" srcOrd="0" destOrd="0" presId="urn:microsoft.com/office/officeart/2005/8/layout/vList2"/>
    <dgm:cxn modelId="{A0246BF9-15D9-4ACB-9349-C90241104FBB}" srcId="{00E6AD57-168E-49CC-B015-4DE25457EA3A}" destId="{91E8557D-4A1E-4228-86F6-F81B1DD21F7E}" srcOrd="1" destOrd="0" parTransId="{320D511E-8C8A-41D3-BA62-D6FF6ABA5A66}" sibTransId="{ED57265A-1B71-4BCD-95F1-FBCE47139016}"/>
    <dgm:cxn modelId="{868EA660-4105-4A99-A58E-EF33A2A5F690}" type="presParOf" srcId="{60CAEF97-4CAB-41C4-B167-4B7514F07431}" destId="{2B6F5139-B81D-444F-B662-6EC6826894CB}" srcOrd="0" destOrd="0" presId="urn:microsoft.com/office/officeart/2005/8/layout/vList2"/>
    <dgm:cxn modelId="{9B0AC5E5-AA38-4D3C-9F28-FD76D0E9D3DE}" type="presParOf" srcId="{60CAEF97-4CAB-41C4-B167-4B7514F07431}" destId="{AD1C7529-1015-4BAA-8558-2E72AEA9EFDD}" srcOrd="1" destOrd="0" presId="urn:microsoft.com/office/officeart/2005/8/layout/vList2"/>
    <dgm:cxn modelId="{9EC5E363-94C6-448D-8FEF-96B28ACD1097}" type="presParOf" srcId="{60CAEF97-4CAB-41C4-B167-4B7514F07431}" destId="{292DCB8A-9FD6-4CA3-89C8-D5785DFBB2DA}" srcOrd="2" destOrd="0" presId="urn:microsoft.com/office/officeart/2005/8/layout/vList2"/>
    <dgm:cxn modelId="{848FC3EA-CFA2-4D0F-B493-38B4A7440E37}" type="presParOf" srcId="{60CAEF97-4CAB-41C4-B167-4B7514F07431}" destId="{EFC4C782-8E19-433D-9559-A0ED2F601F84}" srcOrd="3" destOrd="0" presId="urn:microsoft.com/office/officeart/2005/8/layout/vList2"/>
    <dgm:cxn modelId="{7D9FC4BE-0872-4340-A289-EF5F4BD191BE}" type="presParOf" srcId="{60CAEF97-4CAB-41C4-B167-4B7514F07431}" destId="{30B19454-7F28-40C7-BD48-031138C4C769}" srcOrd="4" destOrd="0" presId="urn:microsoft.com/office/officeart/2005/8/layout/vList2"/>
    <dgm:cxn modelId="{8EBBED93-2346-4FB9-8293-F2D71442320E}" type="presParOf" srcId="{60CAEF97-4CAB-41C4-B167-4B7514F07431}" destId="{08896EED-0DF8-4565-A7E4-E55FDD7AAFCD}" srcOrd="5" destOrd="0" presId="urn:microsoft.com/office/officeart/2005/8/layout/vList2"/>
    <dgm:cxn modelId="{59F812A2-8A26-4A58-A3BB-B41BDC5E73B9}" type="presParOf" srcId="{60CAEF97-4CAB-41C4-B167-4B7514F07431}" destId="{7E5966DF-B195-4B7C-9DB1-4C4533F93DB8}" srcOrd="6" destOrd="0" presId="urn:microsoft.com/office/officeart/2005/8/layout/vList2"/>
    <dgm:cxn modelId="{992F0827-99E3-43B4-BEB6-40748BBEC587}" type="presParOf" srcId="{60CAEF97-4CAB-41C4-B167-4B7514F07431}" destId="{8FFAE54B-39EB-4FB8-B281-01E310634A72}" srcOrd="7" destOrd="0" presId="urn:microsoft.com/office/officeart/2005/8/layout/vList2"/>
    <dgm:cxn modelId="{05034442-402C-406C-8B7D-304040BDC5CA}" type="presParOf" srcId="{60CAEF97-4CAB-41C4-B167-4B7514F07431}" destId="{0BF17C04-7BA4-4153-A454-6993A57CA40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5524B0-D245-4DF0-9A37-4CC2F21E80DC}" type="doc">
      <dgm:prSet loTypeId="urn:microsoft.com/office/officeart/2005/8/layout/hProcess11" loCatId="process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885604FA-60E5-4E99-A3FD-2732E0745DE0}">
      <dgm:prSet/>
      <dgm:spPr/>
      <dgm:t>
        <a:bodyPr/>
        <a:lstStyle/>
        <a:p>
          <a:r>
            <a:rPr lang="en-US" dirty="0"/>
            <a:t>Dec-23 / WHO to receive a pre-assessment based on the initial data</a:t>
          </a:r>
          <a:endParaRPr lang="fr-CH" dirty="0"/>
        </a:p>
      </dgm:t>
    </dgm:pt>
    <dgm:pt modelId="{362B8E09-35C8-4C7C-92FF-382EA4C93F9C}" type="parTrans" cxnId="{CAE1FA1B-C541-4331-AE64-20494DCB802A}">
      <dgm:prSet/>
      <dgm:spPr/>
      <dgm:t>
        <a:bodyPr/>
        <a:lstStyle/>
        <a:p>
          <a:endParaRPr lang="en-US"/>
        </a:p>
      </dgm:t>
    </dgm:pt>
    <dgm:pt modelId="{D5291928-8FF3-4383-9F96-49AA17240989}" type="sibTrans" cxnId="{CAE1FA1B-C541-4331-AE64-20494DCB802A}">
      <dgm:prSet/>
      <dgm:spPr/>
      <dgm:t>
        <a:bodyPr/>
        <a:lstStyle/>
        <a:p>
          <a:endParaRPr lang="en-US"/>
        </a:p>
      </dgm:t>
    </dgm:pt>
    <dgm:pt modelId="{1FD91CBF-0CF4-4045-8563-8D7C185CCEC5}">
      <dgm:prSet/>
      <dgm:spPr/>
      <dgm:t>
        <a:bodyPr/>
        <a:lstStyle/>
        <a:p>
          <a:r>
            <a:rPr lang="en-US" dirty="0"/>
            <a:t>31 Mar-24 / WHO to modify/amend/enhance any recommendation (when the official data dump will be processed);</a:t>
          </a:r>
          <a:endParaRPr lang="fr-CH" dirty="0"/>
        </a:p>
      </dgm:t>
    </dgm:pt>
    <dgm:pt modelId="{FBCC434D-FEB8-4B7F-9BEE-918C7D23BDFA}" type="parTrans" cxnId="{DF48BA6B-9C0F-4A3A-9B88-2E5F79149F2E}">
      <dgm:prSet/>
      <dgm:spPr/>
      <dgm:t>
        <a:bodyPr/>
        <a:lstStyle/>
        <a:p>
          <a:endParaRPr lang="en-US"/>
        </a:p>
      </dgm:t>
    </dgm:pt>
    <dgm:pt modelId="{97A5EE77-5E9B-48CA-A0B5-69F706E7817E}" type="sibTrans" cxnId="{DF48BA6B-9C0F-4A3A-9B88-2E5F79149F2E}">
      <dgm:prSet/>
      <dgm:spPr/>
      <dgm:t>
        <a:bodyPr/>
        <a:lstStyle/>
        <a:p>
          <a:endParaRPr lang="en-US"/>
        </a:p>
      </dgm:t>
    </dgm:pt>
    <dgm:pt modelId="{B25B5B85-D839-4064-9927-A9A04916FC9F}">
      <dgm:prSet/>
      <dgm:spPr/>
      <dgm:t>
        <a:bodyPr/>
        <a:lstStyle/>
        <a:p>
          <a:r>
            <a:rPr lang="en-US" dirty="0"/>
            <a:t>Jul-24 / Final Index report to be published</a:t>
          </a:r>
          <a:endParaRPr lang="fr-CH" dirty="0"/>
        </a:p>
      </dgm:t>
    </dgm:pt>
    <dgm:pt modelId="{73BB7DAD-B18F-47F5-9917-5E8FD841907D}" type="parTrans" cxnId="{00BCBB73-23D6-4A2F-8095-DD8B827453CC}">
      <dgm:prSet/>
      <dgm:spPr/>
      <dgm:t>
        <a:bodyPr/>
        <a:lstStyle/>
        <a:p>
          <a:endParaRPr lang="en-US"/>
        </a:p>
      </dgm:t>
    </dgm:pt>
    <dgm:pt modelId="{18C182C7-55D6-40F9-B946-08BC91AB50BA}" type="sibTrans" cxnId="{00BCBB73-23D6-4A2F-8095-DD8B827453CC}">
      <dgm:prSet/>
      <dgm:spPr/>
      <dgm:t>
        <a:bodyPr/>
        <a:lstStyle/>
        <a:p>
          <a:endParaRPr lang="en-US"/>
        </a:p>
      </dgm:t>
    </dgm:pt>
    <dgm:pt modelId="{D0A54966-35AA-4EB8-AA55-0A383A1EE714}">
      <dgm:prSet/>
      <dgm:spPr/>
      <dgm:t>
        <a:bodyPr/>
        <a:lstStyle/>
        <a:p>
          <a:r>
            <a:rPr lang="fr-CH" dirty="0"/>
            <a:t>13-27 Sept-23 / Initial consultation on AIT </a:t>
          </a:r>
          <a:r>
            <a:rPr lang="fr-CH" dirty="0" err="1"/>
            <a:t>ruleset</a:t>
          </a:r>
          <a:r>
            <a:rPr lang="fr-CH" dirty="0"/>
            <a:t> tests</a:t>
          </a:r>
        </a:p>
      </dgm:t>
    </dgm:pt>
    <dgm:pt modelId="{D4753638-EB5D-4F20-8687-99E5AC3533E9}" type="parTrans" cxnId="{1C24EE36-789A-4628-9A7A-0E3F04DE347A}">
      <dgm:prSet/>
      <dgm:spPr/>
      <dgm:t>
        <a:bodyPr/>
        <a:lstStyle/>
        <a:p>
          <a:endParaRPr lang="en-US"/>
        </a:p>
      </dgm:t>
    </dgm:pt>
    <dgm:pt modelId="{E0BD6FA3-D7AD-4DDD-A2AF-650D8DED5426}" type="sibTrans" cxnId="{1C24EE36-789A-4628-9A7A-0E3F04DE347A}">
      <dgm:prSet/>
      <dgm:spPr/>
      <dgm:t>
        <a:bodyPr/>
        <a:lstStyle/>
        <a:p>
          <a:endParaRPr lang="en-US"/>
        </a:p>
      </dgm:t>
    </dgm:pt>
    <dgm:pt modelId="{A99274FC-0D5B-4796-9109-0872FB7D8E4F}">
      <dgm:prSet/>
      <dgm:spPr/>
      <dgm:t>
        <a:bodyPr/>
        <a:lstStyle/>
        <a:p>
          <a:r>
            <a:rPr lang="en-US" dirty="0"/>
            <a:t>13 Nov-23 / Pre-assessment with an initial data dump (using IATI published information)</a:t>
          </a:r>
          <a:endParaRPr lang="fr-CH" dirty="0"/>
        </a:p>
      </dgm:t>
    </dgm:pt>
    <dgm:pt modelId="{03CC3B29-73C4-452B-B1DF-C5C428775A45}" type="parTrans" cxnId="{D96C470C-2205-4F86-BBFA-76DD1CDB3726}">
      <dgm:prSet/>
      <dgm:spPr/>
      <dgm:t>
        <a:bodyPr/>
        <a:lstStyle/>
        <a:p>
          <a:endParaRPr lang="en-US"/>
        </a:p>
      </dgm:t>
    </dgm:pt>
    <dgm:pt modelId="{7AC2BAB6-F9E6-4629-A7D8-6CE983CBF6E2}" type="sibTrans" cxnId="{D96C470C-2205-4F86-BBFA-76DD1CDB3726}">
      <dgm:prSet/>
      <dgm:spPr/>
      <dgm:t>
        <a:bodyPr/>
        <a:lstStyle/>
        <a:p>
          <a:endParaRPr lang="en-US"/>
        </a:p>
      </dgm:t>
    </dgm:pt>
    <dgm:pt modelId="{6DEEE256-E512-4FDB-9115-ABE7531910D2}" type="pres">
      <dgm:prSet presAssocID="{345524B0-D245-4DF0-9A37-4CC2F21E80DC}" presName="Name0" presStyleCnt="0">
        <dgm:presLayoutVars>
          <dgm:dir/>
          <dgm:resizeHandles val="exact"/>
        </dgm:presLayoutVars>
      </dgm:prSet>
      <dgm:spPr/>
    </dgm:pt>
    <dgm:pt modelId="{B6888241-FAD9-49F5-845F-A2F1C46997F4}" type="pres">
      <dgm:prSet presAssocID="{345524B0-D245-4DF0-9A37-4CC2F21E80DC}" presName="arrow" presStyleLbl="bgShp" presStyleIdx="0" presStyleCnt="1"/>
      <dgm:spPr/>
    </dgm:pt>
    <dgm:pt modelId="{F72A59AF-18BB-4448-B7EB-BEFBBD6AD96E}" type="pres">
      <dgm:prSet presAssocID="{345524B0-D245-4DF0-9A37-4CC2F21E80DC}" presName="points" presStyleCnt="0"/>
      <dgm:spPr/>
    </dgm:pt>
    <dgm:pt modelId="{6219E872-A870-44DC-A7D6-F7DCEFB3433B}" type="pres">
      <dgm:prSet presAssocID="{D0A54966-35AA-4EB8-AA55-0A383A1EE714}" presName="compositeA" presStyleCnt="0"/>
      <dgm:spPr/>
    </dgm:pt>
    <dgm:pt modelId="{D82FC80F-9848-4D7F-8B37-CC32D1CB91BD}" type="pres">
      <dgm:prSet presAssocID="{D0A54966-35AA-4EB8-AA55-0A383A1EE714}" presName="textA" presStyleLbl="revTx" presStyleIdx="0" presStyleCnt="5">
        <dgm:presLayoutVars>
          <dgm:bulletEnabled val="1"/>
        </dgm:presLayoutVars>
      </dgm:prSet>
      <dgm:spPr/>
    </dgm:pt>
    <dgm:pt modelId="{10F39A0A-D66D-496D-8F77-1804D5BD740F}" type="pres">
      <dgm:prSet presAssocID="{D0A54966-35AA-4EB8-AA55-0A383A1EE714}" presName="circleA" presStyleLbl="node1" presStyleIdx="0" presStyleCnt="5"/>
      <dgm:spPr/>
    </dgm:pt>
    <dgm:pt modelId="{D4C438B2-E8DA-4288-85A2-AF0D29FC994A}" type="pres">
      <dgm:prSet presAssocID="{D0A54966-35AA-4EB8-AA55-0A383A1EE714}" presName="spaceA" presStyleCnt="0"/>
      <dgm:spPr/>
    </dgm:pt>
    <dgm:pt modelId="{BE96A77F-11B4-4F78-A4FB-8D670DDF6B90}" type="pres">
      <dgm:prSet presAssocID="{E0BD6FA3-D7AD-4DDD-A2AF-650D8DED5426}" presName="space" presStyleCnt="0"/>
      <dgm:spPr/>
    </dgm:pt>
    <dgm:pt modelId="{D2D286CB-6791-4EAA-AA35-FD71B28D5F33}" type="pres">
      <dgm:prSet presAssocID="{A99274FC-0D5B-4796-9109-0872FB7D8E4F}" presName="compositeB" presStyleCnt="0"/>
      <dgm:spPr/>
    </dgm:pt>
    <dgm:pt modelId="{39ECF9EC-068C-4685-835A-EF9EE249FC7C}" type="pres">
      <dgm:prSet presAssocID="{A99274FC-0D5B-4796-9109-0872FB7D8E4F}" presName="textB" presStyleLbl="revTx" presStyleIdx="1" presStyleCnt="5">
        <dgm:presLayoutVars>
          <dgm:bulletEnabled val="1"/>
        </dgm:presLayoutVars>
      </dgm:prSet>
      <dgm:spPr/>
    </dgm:pt>
    <dgm:pt modelId="{5E9FAF79-5AFE-4643-8F2D-32A31A1206E8}" type="pres">
      <dgm:prSet presAssocID="{A99274FC-0D5B-4796-9109-0872FB7D8E4F}" presName="circleB" presStyleLbl="node1" presStyleIdx="1" presStyleCnt="5"/>
      <dgm:spPr/>
    </dgm:pt>
    <dgm:pt modelId="{ADC9F656-DD61-4BE1-BBFA-10170D118B43}" type="pres">
      <dgm:prSet presAssocID="{A99274FC-0D5B-4796-9109-0872FB7D8E4F}" presName="spaceB" presStyleCnt="0"/>
      <dgm:spPr/>
    </dgm:pt>
    <dgm:pt modelId="{10889DEA-8176-4878-A080-A4FE885D9440}" type="pres">
      <dgm:prSet presAssocID="{7AC2BAB6-F9E6-4629-A7D8-6CE983CBF6E2}" presName="space" presStyleCnt="0"/>
      <dgm:spPr/>
    </dgm:pt>
    <dgm:pt modelId="{715A1D23-BE5D-4581-A898-D47A30096218}" type="pres">
      <dgm:prSet presAssocID="{885604FA-60E5-4E99-A3FD-2732E0745DE0}" presName="compositeA" presStyleCnt="0"/>
      <dgm:spPr/>
    </dgm:pt>
    <dgm:pt modelId="{25EC90BB-2289-49A6-8452-C31B0CF092BF}" type="pres">
      <dgm:prSet presAssocID="{885604FA-60E5-4E99-A3FD-2732E0745DE0}" presName="textA" presStyleLbl="revTx" presStyleIdx="2" presStyleCnt="5">
        <dgm:presLayoutVars>
          <dgm:bulletEnabled val="1"/>
        </dgm:presLayoutVars>
      </dgm:prSet>
      <dgm:spPr/>
    </dgm:pt>
    <dgm:pt modelId="{12C5B609-18B3-4377-985D-5A1D9744FB64}" type="pres">
      <dgm:prSet presAssocID="{885604FA-60E5-4E99-A3FD-2732E0745DE0}" presName="circleA" presStyleLbl="node1" presStyleIdx="2" presStyleCnt="5"/>
      <dgm:spPr/>
    </dgm:pt>
    <dgm:pt modelId="{FC937439-BF5E-4F79-A5B5-6CEF53770B99}" type="pres">
      <dgm:prSet presAssocID="{885604FA-60E5-4E99-A3FD-2732E0745DE0}" presName="spaceA" presStyleCnt="0"/>
      <dgm:spPr/>
    </dgm:pt>
    <dgm:pt modelId="{5E6A8265-6B60-40AA-A259-69D9EDFCD8DD}" type="pres">
      <dgm:prSet presAssocID="{D5291928-8FF3-4383-9F96-49AA17240989}" presName="space" presStyleCnt="0"/>
      <dgm:spPr/>
    </dgm:pt>
    <dgm:pt modelId="{C67E17A8-19D0-4C45-B396-251F7CEC1494}" type="pres">
      <dgm:prSet presAssocID="{1FD91CBF-0CF4-4045-8563-8D7C185CCEC5}" presName="compositeB" presStyleCnt="0"/>
      <dgm:spPr/>
    </dgm:pt>
    <dgm:pt modelId="{4558D471-59E7-47AE-A928-7E281DFB5C4E}" type="pres">
      <dgm:prSet presAssocID="{1FD91CBF-0CF4-4045-8563-8D7C185CCEC5}" presName="textB" presStyleLbl="revTx" presStyleIdx="3" presStyleCnt="5">
        <dgm:presLayoutVars>
          <dgm:bulletEnabled val="1"/>
        </dgm:presLayoutVars>
      </dgm:prSet>
      <dgm:spPr/>
    </dgm:pt>
    <dgm:pt modelId="{64190707-9837-41DF-8CC1-DF9AC35349D7}" type="pres">
      <dgm:prSet presAssocID="{1FD91CBF-0CF4-4045-8563-8D7C185CCEC5}" presName="circleB" presStyleLbl="node1" presStyleIdx="3" presStyleCnt="5"/>
      <dgm:spPr/>
    </dgm:pt>
    <dgm:pt modelId="{901D07CA-C3BC-4214-ABB0-5EF7C1C6EA7A}" type="pres">
      <dgm:prSet presAssocID="{1FD91CBF-0CF4-4045-8563-8D7C185CCEC5}" presName="spaceB" presStyleCnt="0"/>
      <dgm:spPr/>
    </dgm:pt>
    <dgm:pt modelId="{0E40AC0C-2696-4B07-BFFC-F88716D21BD5}" type="pres">
      <dgm:prSet presAssocID="{97A5EE77-5E9B-48CA-A0B5-69F706E7817E}" presName="space" presStyleCnt="0"/>
      <dgm:spPr/>
    </dgm:pt>
    <dgm:pt modelId="{EEF7D4F7-BB6B-44CC-8369-73C6B9F4C270}" type="pres">
      <dgm:prSet presAssocID="{B25B5B85-D839-4064-9927-A9A04916FC9F}" presName="compositeA" presStyleCnt="0"/>
      <dgm:spPr/>
    </dgm:pt>
    <dgm:pt modelId="{8AD35019-0287-4C5D-B7F6-F5AB2017713A}" type="pres">
      <dgm:prSet presAssocID="{B25B5B85-D839-4064-9927-A9A04916FC9F}" presName="textA" presStyleLbl="revTx" presStyleIdx="4" presStyleCnt="5">
        <dgm:presLayoutVars>
          <dgm:bulletEnabled val="1"/>
        </dgm:presLayoutVars>
      </dgm:prSet>
      <dgm:spPr/>
    </dgm:pt>
    <dgm:pt modelId="{D68E782A-3932-4973-A3FB-C37AEC264B57}" type="pres">
      <dgm:prSet presAssocID="{B25B5B85-D839-4064-9927-A9A04916FC9F}" presName="circleA" presStyleLbl="node1" presStyleIdx="4" presStyleCnt="5"/>
      <dgm:spPr/>
    </dgm:pt>
    <dgm:pt modelId="{BDDE8561-72A4-494E-9349-C396AEFE4BB1}" type="pres">
      <dgm:prSet presAssocID="{B25B5B85-D839-4064-9927-A9A04916FC9F}" presName="spaceA" presStyleCnt="0"/>
      <dgm:spPr/>
    </dgm:pt>
  </dgm:ptLst>
  <dgm:cxnLst>
    <dgm:cxn modelId="{68D76102-E96C-496E-AE82-B87AD2560408}" type="presOf" srcId="{B25B5B85-D839-4064-9927-A9A04916FC9F}" destId="{8AD35019-0287-4C5D-B7F6-F5AB2017713A}" srcOrd="0" destOrd="0" presId="urn:microsoft.com/office/officeart/2005/8/layout/hProcess11"/>
    <dgm:cxn modelId="{D96C470C-2205-4F86-BBFA-76DD1CDB3726}" srcId="{345524B0-D245-4DF0-9A37-4CC2F21E80DC}" destId="{A99274FC-0D5B-4796-9109-0872FB7D8E4F}" srcOrd="1" destOrd="0" parTransId="{03CC3B29-73C4-452B-B1DF-C5C428775A45}" sibTransId="{7AC2BAB6-F9E6-4629-A7D8-6CE983CBF6E2}"/>
    <dgm:cxn modelId="{CAE1FA1B-C541-4331-AE64-20494DCB802A}" srcId="{345524B0-D245-4DF0-9A37-4CC2F21E80DC}" destId="{885604FA-60E5-4E99-A3FD-2732E0745DE0}" srcOrd="2" destOrd="0" parTransId="{362B8E09-35C8-4C7C-92FF-382EA4C93F9C}" sibTransId="{D5291928-8FF3-4383-9F96-49AA17240989}"/>
    <dgm:cxn modelId="{81010A1C-1882-43A5-9A46-4F0067F521C4}" type="presOf" srcId="{D0A54966-35AA-4EB8-AA55-0A383A1EE714}" destId="{D82FC80F-9848-4D7F-8B37-CC32D1CB91BD}" srcOrd="0" destOrd="0" presId="urn:microsoft.com/office/officeart/2005/8/layout/hProcess11"/>
    <dgm:cxn modelId="{1C24EE36-789A-4628-9A7A-0E3F04DE347A}" srcId="{345524B0-D245-4DF0-9A37-4CC2F21E80DC}" destId="{D0A54966-35AA-4EB8-AA55-0A383A1EE714}" srcOrd="0" destOrd="0" parTransId="{D4753638-EB5D-4F20-8687-99E5AC3533E9}" sibTransId="{E0BD6FA3-D7AD-4DDD-A2AF-650D8DED5426}"/>
    <dgm:cxn modelId="{11D6095C-3EC6-4E40-BFBE-5502E5677EB5}" type="presOf" srcId="{A99274FC-0D5B-4796-9109-0872FB7D8E4F}" destId="{39ECF9EC-068C-4685-835A-EF9EE249FC7C}" srcOrd="0" destOrd="0" presId="urn:microsoft.com/office/officeart/2005/8/layout/hProcess11"/>
    <dgm:cxn modelId="{DF48BA6B-9C0F-4A3A-9B88-2E5F79149F2E}" srcId="{345524B0-D245-4DF0-9A37-4CC2F21E80DC}" destId="{1FD91CBF-0CF4-4045-8563-8D7C185CCEC5}" srcOrd="3" destOrd="0" parTransId="{FBCC434D-FEB8-4B7F-9BEE-918C7D23BDFA}" sibTransId="{97A5EE77-5E9B-48CA-A0B5-69F706E7817E}"/>
    <dgm:cxn modelId="{A3FB3C53-60D2-460E-A0CD-508E2184F536}" type="presOf" srcId="{345524B0-D245-4DF0-9A37-4CC2F21E80DC}" destId="{6DEEE256-E512-4FDB-9115-ABE7531910D2}" srcOrd="0" destOrd="0" presId="urn:microsoft.com/office/officeart/2005/8/layout/hProcess11"/>
    <dgm:cxn modelId="{00BCBB73-23D6-4A2F-8095-DD8B827453CC}" srcId="{345524B0-D245-4DF0-9A37-4CC2F21E80DC}" destId="{B25B5B85-D839-4064-9927-A9A04916FC9F}" srcOrd="4" destOrd="0" parTransId="{73BB7DAD-B18F-47F5-9917-5E8FD841907D}" sibTransId="{18C182C7-55D6-40F9-B946-08BC91AB50BA}"/>
    <dgm:cxn modelId="{031EFFB8-ABC1-47BF-ABF5-D6427597EED4}" type="presOf" srcId="{1FD91CBF-0CF4-4045-8563-8D7C185CCEC5}" destId="{4558D471-59E7-47AE-A928-7E281DFB5C4E}" srcOrd="0" destOrd="0" presId="urn:microsoft.com/office/officeart/2005/8/layout/hProcess11"/>
    <dgm:cxn modelId="{FB9988E0-76CF-4825-A4D7-9AA7CF37BB6A}" type="presOf" srcId="{885604FA-60E5-4E99-A3FD-2732E0745DE0}" destId="{25EC90BB-2289-49A6-8452-C31B0CF092BF}" srcOrd="0" destOrd="0" presId="urn:microsoft.com/office/officeart/2005/8/layout/hProcess11"/>
    <dgm:cxn modelId="{B0C309C0-D6BA-4EE6-AC6D-0C9C9F87C1CD}" type="presParOf" srcId="{6DEEE256-E512-4FDB-9115-ABE7531910D2}" destId="{B6888241-FAD9-49F5-845F-A2F1C46997F4}" srcOrd="0" destOrd="0" presId="urn:microsoft.com/office/officeart/2005/8/layout/hProcess11"/>
    <dgm:cxn modelId="{C0D956C0-85EE-49DD-817E-DBC2AA23F954}" type="presParOf" srcId="{6DEEE256-E512-4FDB-9115-ABE7531910D2}" destId="{F72A59AF-18BB-4448-B7EB-BEFBBD6AD96E}" srcOrd="1" destOrd="0" presId="urn:microsoft.com/office/officeart/2005/8/layout/hProcess11"/>
    <dgm:cxn modelId="{81663E6F-F8C0-4D0C-B289-0EE8A63E70A4}" type="presParOf" srcId="{F72A59AF-18BB-4448-B7EB-BEFBBD6AD96E}" destId="{6219E872-A870-44DC-A7D6-F7DCEFB3433B}" srcOrd="0" destOrd="0" presId="urn:microsoft.com/office/officeart/2005/8/layout/hProcess11"/>
    <dgm:cxn modelId="{5270438E-5706-4F8F-9838-01208CCA8656}" type="presParOf" srcId="{6219E872-A870-44DC-A7D6-F7DCEFB3433B}" destId="{D82FC80F-9848-4D7F-8B37-CC32D1CB91BD}" srcOrd="0" destOrd="0" presId="urn:microsoft.com/office/officeart/2005/8/layout/hProcess11"/>
    <dgm:cxn modelId="{83EEAD64-8564-42B5-AD3E-27107635A2F6}" type="presParOf" srcId="{6219E872-A870-44DC-A7D6-F7DCEFB3433B}" destId="{10F39A0A-D66D-496D-8F77-1804D5BD740F}" srcOrd="1" destOrd="0" presId="urn:microsoft.com/office/officeart/2005/8/layout/hProcess11"/>
    <dgm:cxn modelId="{80E79599-B5F0-4598-A27E-3BF04C79BB20}" type="presParOf" srcId="{6219E872-A870-44DC-A7D6-F7DCEFB3433B}" destId="{D4C438B2-E8DA-4288-85A2-AF0D29FC994A}" srcOrd="2" destOrd="0" presId="urn:microsoft.com/office/officeart/2005/8/layout/hProcess11"/>
    <dgm:cxn modelId="{6C344447-FC1F-439F-BF1C-8B763AEB237C}" type="presParOf" srcId="{F72A59AF-18BB-4448-B7EB-BEFBBD6AD96E}" destId="{BE96A77F-11B4-4F78-A4FB-8D670DDF6B90}" srcOrd="1" destOrd="0" presId="urn:microsoft.com/office/officeart/2005/8/layout/hProcess11"/>
    <dgm:cxn modelId="{C66E5C06-377A-4BEF-8B87-3BA91D1FDC8F}" type="presParOf" srcId="{F72A59AF-18BB-4448-B7EB-BEFBBD6AD96E}" destId="{D2D286CB-6791-4EAA-AA35-FD71B28D5F33}" srcOrd="2" destOrd="0" presId="urn:microsoft.com/office/officeart/2005/8/layout/hProcess11"/>
    <dgm:cxn modelId="{2CED18D2-0CB7-4598-AFA6-402E1627581E}" type="presParOf" srcId="{D2D286CB-6791-4EAA-AA35-FD71B28D5F33}" destId="{39ECF9EC-068C-4685-835A-EF9EE249FC7C}" srcOrd="0" destOrd="0" presId="urn:microsoft.com/office/officeart/2005/8/layout/hProcess11"/>
    <dgm:cxn modelId="{7FABF016-976C-4890-9B2C-823C65612EF6}" type="presParOf" srcId="{D2D286CB-6791-4EAA-AA35-FD71B28D5F33}" destId="{5E9FAF79-5AFE-4643-8F2D-32A31A1206E8}" srcOrd="1" destOrd="0" presId="urn:microsoft.com/office/officeart/2005/8/layout/hProcess11"/>
    <dgm:cxn modelId="{2EB7AFD9-ABFA-42F7-8CD4-028BCF8C8931}" type="presParOf" srcId="{D2D286CB-6791-4EAA-AA35-FD71B28D5F33}" destId="{ADC9F656-DD61-4BE1-BBFA-10170D118B43}" srcOrd="2" destOrd="0" presId="urn:microsoft.com/office/officeart/2005/8/layout/hProcess11"/>
    <dgm:cxn modelId="{735FB1A0-EF14-4254-A968-DD7AF5EF95E8}" type="presParOf" srcId="{F72A59AF-18BB-4448-B7EB-BEFBBD6AD96E}" destId="{10889DEA-8176-4878-A080-A4FE885D9440}" srcOrd="3" destOrd="0" presId="urn:microsoft.com/office/officeart/2005/8/layout/hProcess11"/>
    <dgm:cxn modelId="{3314E5E3-2DDB-4F89-910C-F6F386B7DDD7}" type="presParOf" srcId="{F72A59AF-18BB-4448-B7EB-BEFBBD6AD96E}" destId="{715A1D23-BE5D-4581-A898-D47A30096218}" srcOrd="4" destOrd="0" presId="urn:microsoft.com/office/officeart/2005/8/layout/hProcess11"/>
    <dgm:cxn modelId="{8F9C9038-528A-4BD9-9801-BEFA5284FFE8}" type="presParOf" srcId="{715A1D23-BE5D-4581-A898-D47A30096218}" destId="{25EC90BB-2289-49A6-8452-C31B0CF092BF}" srcOrd="0" destOrd="0" presId="urn:microsoft.com/office/officeart/2005/8/layout/hProcess11"/>
    <dgm:cxn modelId="{D191E237-7F9F-4AFF-A8AE-5218E1C580B7}" type="presParOf" srcId="{715A1D23-BE5D-4581-A898-D47A30096218}" destId="{12C5B609-18B3-4377-985D-5A1D9744FB64}" srcOrd="1" destOrd="0" presId="urn:microsoft.com/office/officeart/2005/8/layout/hProcess11"/>
    <dgm:cxn modelId="{4C258E55-D1B1-48C3-86B0-57CEDB0B6103}" type="presParOf" srcId="{715A1D23-BE5D-4581-A898-D47A30096218}" destId="{FC937439-BF5E-4F79-A5B5-6CEF53770B99}" srcOrd="2" destOrd="0" presId="urn:microsoft.com/office/officeart/2005/8/layout/hProcess11"/>
    <dgm:cxn modelId="{20E72342-EF64-42AA-914A-FFCC552345D9}" type="presParOf" srcId="{F72A59AF-18BB-4448-B7EB-BEFBBD6AD96E}" destId="{5E6A8265-6B60-40AA-A259-69D9EDFCD8DD}" srcOrd="5" destOrd="0" presId="urn:microsoft.com/office/officeart/2005/8/layout/hProcess11"/>
    <dgm:cxn modelId="{6C516C70-447E-4B60-AD5C-B535E40A9613}" type="presParOf" srcId="{F72A59AF-18BB-4448-B7EB-BEFBBD6AD96E}" destId="{C67E17A8-19D0-4C45-B396-251F7CEC1494}" srcOrd="6" destOrd="0" presId="urn:microsoft.com/office/officeart/2005/8/layout/hProcess11"/>
    <dgm:cxn modelId="{4C39B1CA-FC68-4620-987D-B61AFE87A73D}" type="presParOf" srcId="{C67E17A8-19D0-4C45-B396-251F7CEC1494}" destId="{4558D471-59E7-47AE-A928-7E281DFB5C4E}" srcOrd="0" destOrd="0" presId="urn:microsoft.com/office/officeart/2005/8/layout/hProcess11"/>
    <dgm:cxn modelId="{77E45C68-DD50-461A-BB20-945C3DFB1A33}" type="presParOf" srcId="{C67E17A8-19D0-4C45-B396-251F7CEC1494}" destId="{64190707-9837-41DF-8CC1-DF9AC35349D7}" srcOrd="1" destOrd="0" presId="urn:microsoft.com/office/officeart/2005/8/layout/hProcess11"/>
    <dgm:cxn modelId="{3E022F7F-DC98-4322-8D7A-11013ED29DD0}" type="presParOf" srcId="{C67E17A8-19D0-4C45-B396-251F7CEC1494}" destId="{901D07CA-C3BC-4214-ABB0-5EF7C1C6EA7A}" srcOrd="2" destOrd="0" presId="urn:microsoft.com/office/officeart/2005/8/layout/hProcess11"/>
    <dgm:cxn modelId="{A2305FCB-A55A-486A-AC2B-4923C6CAF5CF}" type="presParOf" srcId="{F72A59AF-18BB-4448-B7EB-BEFBBD6AD96E}" destId="{0E40AC0C-2696-4B07-BFFC-F88716D21BD5}" srcOrd="7" destOrd="0" presId="urn:microsoft.com/office/officeart/2005/8/layout/hProcess11"/>
    <dgm:cxn modelId="{2A9EAAC1-83CF-4589-B552-6561E4896D0E}" type="presParOf" srcId="{F72A59AF-18BB-4448-B7EB-BEFBBD6AD96E}" destId="{EEF7D4F7-BB6B-44CC-8369-73C6B9F4C270}" srcOrd="8" destOrd="0" presId="urn:microsoft.com/office/officeart/2005/8/layout/hProcess11"/>
    <dgm:cxn modelId="{3FB54E84-2FA5-462D-B5A5-5BC33A030A02}" type="presParOf" srcId="{EEF7D4F7-BB6B-44CC-8369-73C6B9F4C270}" destId="{8AD35019-0287-4C5D-B7F6-F5AB2017713A}" srcOrd="0" destOrd="0" presId="urn:microsoft.com/office/officeart/2005/8/layout/hProcess11"/>
    <dgm:cxn modelId="{7E1B117B-EA7E-47AC-8527-86648CF20826}" type="presParOf" srcId="{EEF7D4F7-BB6B-44CC-8369-73C6B9F4C270}" destId="{D68E782A-3932-4973-A3FB-C37AEC264B57}" srcOrd="1" destOrd="0" presId="urn:microsoft.com/office/officeart/2005/8/layout/hProcess11"/>
    <dgm:cxn modelId="{5BBCFA25-8E49-40C3-8841-BA943413A97B}" type="presParOf" srcId="{EEF7D4F7-BB6B-44CC-8369-73C6B9F4C270}" destId="{BDDE8561-72A4-494E-9349-C396AEFE4BB1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51162AC-5DD1-46DD-A9D1-5B5036A2DA8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CE11BF-7E8C-4ADF-A36D-C72D7E14920A}">
      <dgm:prSet phldrT="[Text]"/>
      <dgm:spPr/>
      <dgm:t>
        <a:bodyPr/>
        <a:lstStyle/>
        <a:p>
          <a:r>
            <a:rPr lang="en-US" dirty="0" err="1"/>
            <a:t>Organisational</a:t>
          </a:r>
          <a:endParaRPr lang="en-US" dirty="0"/>
        </a:p>
      </dgm:t>
    </dgm:pt>
    <dgm:pt modelId="{3D0ADD89-88C7-43F1-8990-24E92D8D5E97}" type="parTrans" cxnId="{03F9E10A-3007-4036-9588-C14D5377EF75}">
      <dgm:prSet/>
      <dgm:spPr/>
      <dgm:t>
        <a:bodyPr/>
        <a:lstStyle/>
        <a:p>
          <a:endParaRPr lang="en-US"/>
        </a:p>
      </dgm:t>
    </dgm:pt>
    <dgm:pt modelId="{5ABE7CEB-AAC0-4714-BF80-2DB902AFCD28}" type="sibTrans" cxnId="{03F9E10A-3007-4036-9588-C14D5377EF75}">
      <dgm:prSet/>
      <dgm:spPr/>
      <dgm:t>
        <a:bodyPr/>
        <a:lstStyle/>
        <a:p>
          <a:endParaRPr lang="en-US"/>
        </a:p>
      </dgm:t>
    </dgm:pt>
    <dgm:pt modelId="{C6CCFD41-D9F2-4DA3-9AB6-6EC6309B32A5}">
      <dgm:prSet phldrT="[Text]"/>
      <dgm:spPr/>
      <dgm:t>
        <a:bodyPr/>
        <a:lstStyle/>
        <a:p>
          <a:r>
            <a:rPr lang="en-US" dirty="0"/>
            <a:t>Planning</a:t>
          </a:r>
        </a:p>
      </dgm:t>
    </dgm:pt>
    <dgm:pt modelId="{079EC17A-9753-4658-8933-40E75B169B3B}" type="parTrans" cxnId="{23C54350-989F-4FCA-81E2-832FA6C54421}">
      <dgm:prSet/>
      <dgm:spPr/>
      <dgm:t>
        <a:bodyPr/>
        <a:lstStyle/>
        <a:p>
          <a:endParaRPr lang="en-US"/>
        </a:p>
      </dgm:t>
    </dgm:pt>
    <dgm:pt modelId="{D8CDCC68-85F6-416D-88EC-0AA3777B7656}" type="sibTrans" cxnId="{23C54350-989F-4FCA-81E2-832FA6C54421}">
      <dgm:prSet/>
      <dgm:spPr/>
      <dgm:t>
        <a:bodyPr/>
        <a:lstStyle/>
        <a:p>
          <a:endParaRPr lang="en-US"/>
        </a:p>
      </dgm:t>
    </dgm:pt>
    <dgm:pt modelId="{5CD30369-7D70-43D9-BA9E-63BEBB4DA7F4}">
      <dgm:prSet phldrT="[Text]"/>
      <dgm:spPr/>
      <dgm:t>
        <a:bodyPr/>
        <a:lstStyle/>
        <a:p>
          <a:r>
            <a:rPr lang="en-US" dirty="0"/>
            <a:t>Strategy</a:t>
          </a:r>
        </a:p>
      </dgm:t>
    </dgm:pt>
    <dgm:pt modelId="{6217AB92-596B-4338-BC60-EF4311995036}" type="parTrans" cxnId="{86ADF213-D031-4D3D-B1CE-9242E46D9A30}">
      <dgm:prSet/>
      <dgm:spPr/>
      <dgm:t>
        <a:bodyPr/>
        <a:lstStyle/>
        <a:p>
          <a:endParaRPr lang="en-US"/>
        </a:p>
      </dgm:t>
    </dgm:pt>
    <dgm:pt modelId="{656E786B-8BD0-424B-81F4-B8B8A09C355B}" type="sibTrans" cxnId="{86ADF213-D031-4D3D-B1CE-9242E46D9A30}">
      <dgm:prSet/>
      <dgm:spPr/>
      <dgm:t>
        <a:bodyPr/>
        <a:lstStyle/>
        <a:p>
          <a:endParaRPr lang="en-US"/>
        </a:p>
      </dgm:t>
    </dgm:pt>
    <dgm:pt modelId="{27D92077-1DDC-4211-B2B8-15AA6336A41B}">
      <dgm:prSet phldrT="[Text]"/>
      <dgm:spPr/>
      <dgm:t>
        <a:bodyPr/>
        <a:lstStyle/>
        <a:p>
          <a:r>
            <a:rPr lang="en-US" dirty="0"/>
            <a:t>Activity</a:t>
          </a:r>
        </a:p>
      </dgm:t>
    </dgm:pt>
    <dgm:pt modelId="{156EFDC9-DEC1-4FFE-B0FA-DD02E015F048}" type="parTrans" cxnId="{5359534B-315A-4527-BC21-B30C59E8B9B1}">
      <dgm:prSet/>
      <dgm:spPr/>
      <dgm:t>
        <a:bodyPr/>
        <a:lstStyle/>
        <a:p>
          <a:endParaRPr lang="en-US"/>
        </a:p>
      </dgm:t>
    </dgm:pt>
    <dgm:pt modelId="{6C8CA276-A00A-4379-93B7-3612D0901945}" type="sibTrans" cxnId="{5359534B-315A-4527-BC21-B30C59E8B9B1}">
      <dgm:prSet/>
      <dgm:spPr/>
      <dgm:t>
        <a:bodyPr/>
        <a:lstStyle/>
        <a:p>
          <a:endParaRPr lang="en-US"/>
        </a:p>
      </dgm:t>
    </dgm:pt>
    <dgm:pt modelId="{ACD493E4-6589-4612-887C-72EEB21F2B5F}">
      <dgm:prSet phldrT="[Text]"/>
      <dgm:spPr/>
      <dgm:t>
        <a:bodyPr/>
        <a:lstStyle/>
        <a:p>
          <a:r>
            <a:rPr lang="en-US" dirty="0"/>
            <a:t>Finance and budgets (both aggregated and at country level);</a:t>
          </a:r>
        </a:p>
      </dgm:t>
    </dgm:pt>
    <dgm:pt modelId="{F15F97B4-A703-47EA-AD66-1000EEC02B51}" type="parTrans" cxnId="{39AE7ABA-2E97-4817-AC40-85CA9AFFDFC6}">
      <dgm:prSet/>
      <dgm:spPr/>
      <dgm:t>
        <a:bodyPr/>
        <a:lstStyle/>
        <a:p>
          <a:endParaRPr lang="en-US"/>
        </a:p>
      </dgm:t>
    </dgm:pt>
    <dgm:pt modelId="{117C6FBA-0516-442B-9BBB-4C63C14DDA92}" type="sibTrans" cxnId="{39AE7ABA-2E97-4817-AC40-85CA9AFFDFC6}">
      <dgm:prSet/>
      <dgm:spPr/>
      <dgm:t>
        <a:bodyPr/>
        <a:lstStyle/>
        <a:p>
          <a:endParaRPr lang="en-US"/>
        </a:p>
      </dgm:t>
    </dgm:pt>
    <dgm:pt modelId="{0398BF52-5647-47E1-ABE3-582550587A79}">
      <dgm:prSet phldrT="[Text]"/>
      <dgm:spPr/>
      <dgm:t>
        <a:bodyPr/>
        <a:lstStyle/>
        <a:p>
          <a:r>
            <a:rPr lang="en-US" dirty="0"/>
            <a:t>Commitments</a:t>
          </a:r>
        </a:p>
      </dgm:t>
    </dgm:pt>
    <dgm:pt modelId="{65A45596-85A0-4C05-96FB-243970331C75}" type="parTrans" cxnId="{821B07E0-7B42-4BB8-ACC8-1CDBB0A2F505}">
      <dgm:prSet/>
      <dgm:spPr/>
      <dgm:t>
        <a:bodyPr/>
        <a:lstStyle/>
        <a:p>
          <a:endParaRPr lang="en-US"/>
        </a:p>
      </dgm:t>
    </dgm:pt>
    <dgm:pt modelId="{A924C969-3B40-457E-B25F-061A56403100}" type="sibTrans" cxnId="{821B07E0-7B42-4BB8-ACC8-1CDBB0A2F505}">
      <dgm:prSet/>
      <dgm:spPr/>
      <dgm:t>
        <a:bodyPr/>
        <a:lstStyle/>
        <a:p>
          <a:endParaRPr lang="en-US"/>
        </a:p>
      </dgm:t>
    </dgm:pt>
    <dgm:pt modelId="{326777CB-D1B6-4AE3-A74B-45008ED9D2B6}">
      <dgm:prSet/>
      <dgm:spPr/>
      <dgm:t>
        <a:bodyPr/>
        <a:lstStyle/>
        <a:p>
          <a:r>
            <a:rPr lang="en-US" dirty="0"/>
            <a:t>Project attributes (especially timeline, status and geo location);</a:t>
          </a:r>
        </a:p>
      </dgm:t>
    </dgm:pt>
    <dgm:pt modelId="{100CDF0E-030A-42C5-B8DB-5A19DE391CB1}" type="parTrans" cxnId="{3EF8DF42-29A4-4A63-ADD2-403251909E45}">
      <dgm:prSet/>
      <dgm:spPr/>
      <dgm:t>
        <a:bodyPr/>
        <a:lstStyle/>
        <a:p>
          <a:endParaRPr lang="en-US"/>
        </a:p>
      </dgm:t>
    </dgm:pt>
    <dgm:pt modelId="{0114DCA0-9EAB-43B4-8257-AE87C75D7664}" type="sibTrans" cxnId="{3EF8DF42-29A4-4A63-ADD2-403251909E45}">
      <dgm:prSet/>
      <dgm:spPr/>
      <dgm:t>
        <a:bodyPr/>
        <a:lstStyle/>
        <a:p>
          <a:endParaRPr lang="en-US"/>
        </a:p>
      </dgm:t>
    </dgm:pt>
    <dgm:pt modelId="{DCF86C11-53A1-4B5D-9E30-8B4A1A57E21B}">
      <dgm:prSet/>
      <dgm:spPr/>
      <dgm:t>
        <a:bodyPr/>
        <a:lstStyle/>
        <a:p>
          <a:r>
            <a:rPr lang="en-US"/>
            <a:t>Joining-up development data (OECD DAC mappings + networked data);</a:t>
          </a:r>
        </a:p>
      </dgm:t>
    </dgm:pt>
    <dgm:pt modelId="{F8680623-F3F6-4BBA-B843-0D709B9F6707}" type="parTrans" cxnId="{EAE3A3C2-7E67-4F2C-B154-ED9804FDBA21}">
      <dgm:prSet/>
      <dgm:spPr/>
      <dgm:t>
        <a:bodyPr/>
        <a:lstStyle/>
        <a:p>
          <a:endParaRPr lang="en-US"/>
        </a:p>
      </dgm:t>
    </dgm:pt>
    <dgm:pt modelId="{4F3292ED-B3ED-4694-85E0-DAA429FA1570}" type="sibTrans" cxnId="{EAE3A3C2-7E67-4F2C-B154-ED9804FDBA21}">
      <dgm:prSet/>
      <dgm:spPr/>
      <dgm:t>
        <a:bodyPr/>
        <a:lstStyle/>
        <a:p>
          <a:endParaRPr lang="en-US"/>
        </a:p>
      </dgm:t>
    </dgm:pt>
    <dgm:pt modelId="{A922C646-8263-4A5C-ABED-E88B3A02D09B}">
      <dgm:prSet/>
      <dgm:spPr/>
      <dgm:t>
        <a:bodyPr/>
        <a:lstStyle/>
        <a:p>
          <a:r>
            <a:rPr lang="en-US" dirty="0"/>
            <a:t>Performance (objectives, reviews, evaluations, results).</a:t>
          </a:r>
        </a:p>
      </dgm:t>
    </dgm:pt>
    <dgm:pt modelId="{FAD20829-ED6D-41DF-A53E-4939FB07478D}" type="parTrans" cxnId="{155098BF-8C40-447A-89EB-F12BF08604B5}">
      <dgm:prSet/>
      <dgm:spPr/>
      <dgm:t>
        <a:bodyPr/>
        <a:lstStyle/>
        <a:p>
          <a:endParaRPr lang="en-US"/>
        </a:p>
      </dgm:t>
    </dgm:pt>
    <dgm:pt modelId="{91D3ABBC-4BFD-4A10-9C82-31454B4800C8}" type="sibTrans" cxnId="{155098BF-8C40-447A-89EB-F12BF08604B5}">
      <dgm:prSet/>
      <dgm:spPr/>
      <dgm:t>
        <a:bodyPr/>
        <a:lstStyle/>
        <a:p>
          <a:endParaRPr lang="en-US"/>
        </a:p>
      </dgm:t>
    </dgm:pt>
    <dgm:pt modelId="{D0782776-33F6-44A3-ABB0-D44B7FF9370D}" type="pres">
      <dgm:prSet presAssocID="{451162AC-5DD1-46DD-A9D1-5B5036A2DA80}" presName="Name0" presStyleCnt="0">
        <dgm:presLayoutVars>
          <dgm:dir/>
          <dgm:animLvl val="lvl"/>
          <dgm:resizeHandles val="exact"/>
        </dgm:presLayoutVars>
      </dgm:prSet>
      <dgm:spPr/>
    </dgm:pt>
    <dgm:pt modelId="{4EC438C8-FE14-480F-B969-B69BE52147FC}" type="pres">
      <dgm:prSet presAssocID="{6FCE11BF-7E8C-4ADF-A36D-C72D7E14920A}" presName="composite" presStyleCnt="0"/>
      <dgm:spPr/>
    </dgm:pt>
    <dgm:pt modelId="{DB8D2B53-6DD6-403A-82B1-70A339327B99}" type="pres">
      <dgm:prSet presAssocID="{6FCE11BF-7E8C-4ADF-A36D-C72D7E14920A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BA183F06-7E89-4FBD-9B3F-E147023AF26C}" type="pres">
      <dgm:prSet presAssocID="{6FCE11BF-7E8C-4ADF-A36D-C72D7E14920A}" presName="desTx" presStyleLbl="alignAccFollowNode1" presStyleIdx="0" presStyleCnt="2">
        <dgm:presLayoutVars>
          <dgm:bulletEnabled val="1"/>
        </dgm:presLayoutVars>
      </dgm:prSet>
      <dgm:spPr/>
    </dgm:pt>
    <dgm:pt modelId="{C360FC7F-B58A-4E68-B424-A2093E42FE1E}" type="pres">
      <dgm:prSet presAssocID="{5ABE7CEB-AAC0-4714-BF80-2DB902AFCD28}" presName="space" presStyleCnt="0"/>
      <dgm:spPr/>
    </dgm:pt>
    <dgm:pt modelId="{45E28BE0-71E6-46B8-9A95-680A140BDD51}" type="pres">
      <dgm:prSet presAssocID="{27D92077-1DDC-4211-B2B8-15AA6336A41B}" presName="composite" presStyleCnt="0"/>
      <dgm:spPr/>
    </dgm:pt>
    <dgm:pt modelId="{4ACBB98B-27F6-455E-AFF5-E31908248B29}" type="pres">
      <dgm:prSet presAssocID="{27D92077-1DDC-4211-B2B8-15AA6336A41B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A38C670B-5E14-4165-8268-F21AC31B459D}" type="pres">
      <dgm:prSet presAssocID="{27D92077-1DDC-4211-B2B8-15AA6336A41B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03F9E10A-3007-4036-9588-C14D5377EF75}" srcId="{451162AC-5DD1-46DD-A9D1-5B5036A2DA80}" destId="{6FCE11BF-7E8C-4ADF-A36D-C72D7E14920A}" srcOrd="0" destOrd="0" parTransId="{3D0ADD89-88C7-43F1-8990-24E92D8D5E97}" sibTransId="{5ABE7CEB-AAC0-4714-BF80-2DB902AFCD28}"/>
    <dgm:cxn modelId="{10B7BF0C-919C-4640-8118-471EE1BFE750}" type="presOf" srcId="{326777CB-D1B6-4AE3-A74B-45008ED9D2B6}" destId="{A38C670B-5E14-4165-8268-F21AC31B459D}" srcOrd="0" destOrd="1" presId="urn:microsoft.com/office/officeart/2005/8/layout/hList1"/>
    <dgm:cxn modelId="{86ADF213-D031-4D3D-B1CE-9242E46D9A30}" srcId="{6FCE11BF-7E8C-4ADF-A36D-C72D7E14920A}" destId="{5CD30369-7D70-43D9-BA9E-63BEBB4DA7F4}" srcOrd="2" destOrd="0" parTransId="{6217AB92-596B-4338-BC60-EF4311995036}" sibTransId="{656E786B-8BD0-424B-81F4-B8B8A09C355B}"/>
    <dgm:cxn modelId="{DA2A7C1A-8A48-4752-8778-2A8276A0BEB4}" type="presOf" srcId="{27D92077-1DDC-4211-B2B8-15AA6336A41B}" destId="{4ACBB98B-27F6-455E-AFF5-E31908248B29}" srcOrd="0" destOrd="0" presId="urn:microsoft.com/office/officeart/2005/8/layout/hList1"/>
    <dgm:cxn modelId="{70A5551B-FB11-4A2A-A0EA-C24C49D20CED}" type="presOf" srcId="{6FCE11BF-7E8C-4ADF-A36D-C72D7E14920A}" destId="{DB8D2B53-6DD6-403A-82B1-70A339327B99}" srcOrd="0" destOrd="0" presId="urn:microsoft.com/office/officeart/2005/8/layout/hList1"/>
    <dgm:cxn modelId="{9B31B726-2F8F-44A8-ADAC-9E6D567E914D}" type="presOf" srcId="{451162AC-5DD1-46DD-A9D1-5B5036A2DA80}" destId="{D0782776-33F6-44A3-ABB0-D44B7FF9370D}" srcOrd="0" destOrd="0" presId="urn:microsoft.com/office/officeart/2005/8/layout/hList1"/>
    <dgm:cxn modelId="{B91FF729-8595-47CA-87E8-CACE71C5A3BF}" type="presOf" srcId="{0398BF52-5647-47E1-ABE3-582550587A79}" destId="{BA183F06-7E89-4FBD-9B3F-E147023AF26C}" srcOrd="0" destOrd="1" presId="urn:microsoft.com/office/officeart/2005/8/layout/hList1"/>
    <dgm:cxn modelId="{3EF8DF42-29A4-4A63-ADD2-403251909E45}" srcId="{27D92077-1DDC-4211-B2B8-15AA6336A41B}" destId="{326777CB-D1B6-4AE3-A74B-45008ED9D2B6}" srcOrd="1" destOrd="0" parTransId="{100CDF0E-030A-42C5-B8DB-5A19DE391CB1}" sibTransId="{0114DCA0-9EAB-43B4-8257-AE87C75D7664}"/>
    <dgm:cxn modelId="{5359534B-315A-4527-BC21-B30C59E8B9B1}" srcId="{451162AC-5DD1-46DD-A9D1-5B5036A2DA80}" destId="{27D92077-1DDC-4211-B2B8-15AA6336A41B}" srcOrd="1" destOrd="0" parTransId="{156EFDC9-DEC1-4FFE-B0FA-DD02E015F048}" sibTransId="{6C8CA276-A00A-4379-93B7-3612D0901945}"/>
    <dgm:cxn modelId="{45148C4D-600C-4077-9255-AA557BFF1445}" type="presOf" srcId="{A922C646-8263-4A5C-ABED-E88B3A02D09B}" destId="{A38C670B-5E14-4165-8268-F21AC31B459D}" srcOrd="0" destOrd="3" presId="urn:microsoft.com/office/officeart/2005/8/layout/hList1"/>
    <dgm:cxn modelId="{23C54350-989F-4FCA-81E2-832FA6C54421}" srcId="{6FCE11BF-7E8C-4ADF-A36D-C72D7E14920A}" destId="{C6CCFD41-D9F2-4DA3-9AB6-6EC6309B32A5}" srcOrd="0" destOrd="0" parTransId="{079EC17A-9753-4658-8933-40E75B169B3B}" sibTransId="{D8CDCC68-85F6-416D-88EC-0AA3777B7656}"/>
    <dgm:cxn modelId="{E1FCBB73-224C-46D6-9AFB-4395E8DA1C36}" type="presOf" srcId="{C6CCFD41-D9F2-4DA3-9AB6-6EC6309B32A5}" destId="{BA183F06-7E89-4FBD-9B3F-E147023AF26C}" srcOrd="0" destOrd="0" presId="urn:microsoft.com/office/officeart/2005/8/layout/hList1"/>
    <dgm:cxn modelId="{4B7535B2-9396-4929-87FF-D6E2F6B749A5}" type="presOf" srcId="{5CD30369-7D70-43D9-BA9E-63BEBB4DA7F4}" destId="{BA183F06-7E89-4FBD-9B3F-E147023AF26C}" srcOrd="0" destOrd="2" presId="urn:microsoft.com/office/officeart/2005/8/layout/hList1"/>
    <dgm:cxn modelId="{39AE7ABA-2E97-4817-AC40-85CA9AFFDFC6}" srcId="{27D92077-1DDC-4211-B2B8-15AA6336A41B}" destId="{ACD493E4-6589-4612-887C-72EEB21F2B5F}" srcOrd="0" destOrd="0" parTransId="{F15F97B4-A703-47EA-AD66-1000EEC02B51}" sibTransId="{117C6FBA-0516-442B-9BBB-4C63C14DDA92}"/>
    <dgm:cxn modelId="{155098BF-8C40-447A-89EB-F12BF08604B5}" srcId="{27D92077-1DDC-4211-B2B8-15AA6336A41B}" destId="{A922C646-8263-4A5C-ABED-E88B3A02D09B}" srcOrd="3" destOrd="0" parTransId="{FAD20829-ED6D-41DF-A53E-4939FB07478D}" sibTransId="{91D3ABBC-4BFD-4A10-9C82-31454B4800C8}"/>
    <dgm:cxn modelId="{EAE3A3C2-7E67-4F2C-B154-ED9804FDBA21}" srcId="{27D92077-1DDC-4211-B2B8-15AA6336A41B}" destId="{DCF86C11-53A1-4B5D-9E30-8B4A1A57E21B}" srcOrd="2" destOrd="0" parTransId="{F8680623-F3F6-4BBA-B843-0D709B9F6707}" sibTransId="{4F3292ED-B3ED-4694-85E0-DAA429FA1570}"/>
    <dgm:cxn modelId="{D6F743CE-067E-42C7-8DE1-DD594A56221D}" type="presOf" srcId="{DCF86C11-53A1-4B5D-9E30-8B4A1A57E21B}" destId="{A38C670B-5E14-4165-8268-F21AC31B459D}" srcOrd="0" destOrd="2" presId="urn:microsoft.com/office/officeart/2005/8/layout/hList1"/>
    <dgm:cxn modelId="{821B07E0-7B42-4BB8-ACC8-1CDBB0A2F505}" srcId="{6FCE11BF-7E8C-4ADF-A36D-C72D7E14920A}" destId="{0398BF52-5647-47E1-ABE3-582550587A79}" srcOrd="1" destOrd="0" parTransId="{65A45596-85A0-4C05-96FB-243970331C75}" sibTransId="{A924C969-3B40-457E-B25F-061A56403100}"/>
    <dgm:cxn modelId="{8D41C5F1-9A67-4A20-9553-9F34B9A3F615}" type="presOf" srcId="{ACD493E4-6589-4612-887C-72EEB21F2B5F}" destId="{A38C670B-5E14-4165-8268-F21AC31B459D}" srcOrd="0" destOrd="0" presId="urn:microsoft.com/office/officeart/2005/8/layout/hList1"/>
    <dgm:cxn modelId="{6C031D59-8720-4AA2-A99E-35D29905AF70}" type="presParOf" srcId="{D0782776-33F6-44A3-ABB0-D44B7FF9370D}" destId="{4EC438C8-FE14-480F-B969-B69BE52147FC}" srcOrd="0" destOrd="0" presId="urn:microsoft.com/office/officeart/2005/8/layout/hList1"/>
    <dgm:cxn modelId="{6357DFE7-FA46-4B3A-9833-2C5B72802418}" type="presParOf" srcId="{4EC438C8-FE14-480F-B969-B69BE52147FC}" destId="{DB8D2B53-6DD6-403A-82B1-70A339327B99}" srcOrd="0" destOrd="0" presId="urn:microsoft.com/office/officeart/2005/8/layout/hList1"/>
    <dgm:cxn modelId="{F1453072-75C4-4144-81D5-394B5FA8E534}" type="presParOf" srcId="{4EC438C8-FE14-480F-B969-B69BE52147FC}" destId="{BA183F06-7E89-4FBD-9B3F-E147023AF26C}" srcOrd="1" destOrd="0" presId="urn:microsoft.com/office/officeart/2005/8/layout/hList1"/>
    <dgm:cxn modelId="{4E945563-27FB-4C7A-AA2F-13BDB2375BEF}" type="presParOf" srcId="{D0782776-33F6-44A3-ABB0-D44B7FF9370D}" destId="{C360FC7F-B58A-4E68-B424-A2093E42FE1E}" srcOrd="1" destOrd="0" presId="urn:microsoft.com/office/officeart/2005/8/layout/hList1"/>
    <dgm:cxn modelId="{688AB9F5-3A33-44E2-9542-A2D2468941B9}" type="presParOf" srcId="{D0782776-33F6-44A3-ABB0-D44B7FF9370D}" destId="{45E28BE0-71E6-46B8-9A95-680A140BDD51}" srcOrd="2" destOrd="0" presId="urn:microsoft.com/office/officeart/2005/8/layout/hList1"/>
    <dgm:cxn modelId="{95A5DBB9-AF8E-402B-9017-A1F795D23B07}" type="presParOf" srcId="{45E28BE0-71E6-46B8-9A95-680A140BDD51}" destId="{4ACBB98B-27F6-455E-AFF5-E31908248B29}" srcOrd="0" destOrd="0" presId="urn:microsoft.com/office/officeart/2005/8/layout/hList1"/>
    <dgm:cxn modelId="{4237E734-718E-4CB4-9393-D682BD2BB2E2}" type="presParOf" srcId="{45E28BE0-71E6-46B8-9A95-680A140BDD51}" destId="{A38C670B-5E14-4165-8268-F21AC31B459D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6F5BA1E-8F68-4DC0-A663-B8D672BE187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C2751382-5AF9-4C79-8856-5301DB3ADD84}">
      <dgm:prSet/>
      <dgm:spPr/>
      <dgm:t>
        <a:bodyPr/>
        <a:lstStyle/>
        <a:p>
          <a:r>
            <a:rPr lang="en-US"/>
            <a:t>Frequency: monthly;</a:t>
          </a:r>
          <a:endParaRPr lang="fr-CH"/>
        </a:p>
      </dgm:t>
    </dgm:pt>
    <dgm:pt modelId="{BE612DBD-E904-48F1-9AFE-7A3F7B4634E7}" type="parTrans" cxnId="{FD487CA4-F74A-451C-89E7-1FDA27FE445E}">
      <dgm:prSet/>
      <dgm:spPr/>
      <dgm:t>
        <a:bodyPr/>
        <a:lstStyle/>
        <a:p>
          <a:endParaRPr lang="en-US"/>
        </a:p>
      </dgm:t>
    </dgm:pt>
    <dgm:pt modelId="{177E95A0-0E20-4920-85C9-05412BDB8B22}" type="sibTrans" cxnId="{FD487CA4-F74A-451C-89E7-1FDA27FE445E}">
      <dgm:prSet/>
      <dgm:spPr/>
      <dgm:t>
        <a:bodyPr/>
        <a:lstStyle/>
        <a:p>
          <a:endParaRPr lang="en-US"/>
        </a:p>
      </dgm:t>
    </dgm:pt>
    <dgm:pt modelId="{288E2E43-3E3E-4870-819A-892E2B8D751B}">
      <dgm:prSet/>
      <dgm:spPr/>
      <dgm:t>
        <a:bodyPr/>
        <a:lstStyle/>
        <a:p>
          <a:r>
            <a:rPr lang="en-US"/>
            <a:t>Coupled with PB Web portal updates;</a:t>
          </a:r>
          <a:endParaRPr lang="fr-CH"/>
        </a:p>
      </dgm:t>
    </dgm:pt>
    <dgm:pt modelId="{531F85A2-0DF4-4D63-A851-FABD44E68710}" type="parTrans" cxnId="{98E4A212-8FA5-4854-8192-CE98AEA493BE}">
      <dgm:prSet/>
      <dgm:spPr/>
      <dgm:t>
        <a:bodyPr/>
        <a:lstStyle/>
        <a:p>
          <a:endParaRPr lang="en-US"/>
        </a:p>
      </dgm:t>
    </dgm:pt>
    <dgm:pt modelId="{B34E1273-8319-42E7-ADA3-F38FC4B4C4F2}" type="sibTrans" cxnId="{98E4A212-8FA5-4854-8192-CE98AEA493BE}">
      <dgm:prSet/>
      <dgm:spPr/>
      <dgm:t>
        <a:bodyPr/>
        <a:lstStyle/>
        <a:p>
          <a:endParaRPr lang="en-US"/>
        </a:p>
      </dgm:t>
    </dgm:pt>
    <dgm:pt modelId="{9236084F-6E41-40EF-AC46-AE323BF99584}">
      <dgm:prSet/>
      <dgm:spPr/>
      <dgm:t>
        <a:bodyPr/>
        <a:lstStyle/>
        <a:p>
          <a:r>
            <a:rPr lang="en-US"/>
            <a:t>Activity = PB output;</a:t>
          </a:r>
          <a:endParaRPr lang="fr-CH"/>
        </a:p>
      </dgm:t>
    </dgm:pt>
    <dgm:pt modelId="{E83B4E3A-EE63-4E3A-9F5F-4E2E4609CD75}" type="parTrans" cxnId="{03D15A4E-D7BF-4663-837E-5F3B136B9688}">
      <dgm:prSet/>
      <dgm:spPr/>
      <dgm:t>
        <a:bodyPr/>
        <a:lstStyle/>
        <a:p>
          <a:endParaRPr lang="en-US"/>
        </a:p>
      </dgm:t>
    </dgm:pt>
    <dgm:pt modelId="{8E79AAB5-5D12-4BBE-96F2-26414BA1A577}" type="sibTrans" cxnId="{03D15A4E-D7BF-4663-837E-5F3B136B9688}">
      <dgm:prSet/>
      <dgm:spPr/>
      <dgm:t>
        <a:bodyPr/>
        <a:lstStyle/>
        <a:p>
          <a:endParaRPr lang="en-US"/>
        </a:p>
      </dgm:t>
    </dgm:pt>
    <dgm:pt modelId="{79CA1294-9012-4C9B-B037-867A1CA3DDD2}">
      <dgm:prSet/>
      <dgm:spPr/>
      <dgm:t>
        <a:bodyPr/>
        <a:lstStyle/>
        <a:p>
          <a:r>
            <a:rPr lang="en-US"/>
            <a:t>Expenditures are published at the transaction level (including date and type);</a:t>
          </a:r>
          <a:endParaRPr lang="fr-CH"/>
        </a:p>
      </dgm:t>
    </dgm:pt>
    <dgm:pt modelId="{EA56EC7F-1E8C-4EBD-8C41-1865B8FC9883}" type="parTrans" cxnId="{646AE823-EDC9-4FEF-A1E0-B0885891691E}">
      <dgm:prSet/>
      <dgm:spPr/>
      <dgm:t>
        <a:bodyPr/>
        <a:lstStyle/>
        <a:p>
          <a:endParaRPr lang="en-US"/>
        </a:p>
      </dgm:t>
    </dgm:pt>
    <dgm:pt modelId="{50D912E5-277E-4B24-B54F-EF6C36C8F646}" type="sibTrans" cxnId="{646AE823-EDC9-4FEF-A1E0-B0885891691E}">
      <dgm:prSet/>
      <dgm:spPr/>
      <dgm:t>
        <a:bodyPr/>
        <a:lstStyle/>
        <a:p>
          <a:endParaRPr lang="en-US"/>
        </a:p>
      </dgm:t>
    </dgm:pt>
    <dgm:pt modelId="{6B682992-4503-496B-A7CF-8AB48E10AA73}">
      <dgm:prSet/>
      <dgm:spPr/>
      <dgm:t>
        <a:bodyPr/>
        <a:lstStyle/>
        <a:p>
          <a:r>
            <a:rPr lang="en-US"/>
            <a:t>Funding information (Award budget) is accrued;</a:t>
          </a:r>
          <a:endParaRPr lang="fr-CH"/>
        </a:p>
      </dgm:t>
    </dgm:pt>
    <dgm:pt modelId="{42EF98BE-8870-441D-889C-E811AF7AE25E}" type="parTrans" cxnId="{F71A4754-C1CB-4F38-B4B2-B3F634DF522C}">
      <dgm:prSet/>
      <dgm:spPr/>
      <dgm:t>
        <a:bodyPr/>
        <a:lstStyle/>
        <a:p>
          <a:endParaRPr lang="en-US"/>
        </a:p>
      </dgm:t>
    </dgm:pt>
    <dgm:pt modelId="{10A4040F-1EB1-4889-9521-A15EAC994A4F}" type="sibTrans" cxnId="{F71A4754-C1CB-4F38-B4B2-B3F634DF522C}">
      <dgm:prSet/>
      <dgm:spPr/>
      <dgm:t>
        <a:bodyPr/>
        <a:lstStyle/>
        <a:p>
          <a:endParaRPr lang="en-US"/>
        </a:p>
      </dgm:t>
    </dgm:pt>
    <dgm:pt modelId="{3348D794-F8D5-4102-8C7E-477CF6432DE9}">
      <dgm:prSet/>
      <dgm:spPr/>
      <dgm:t>
        <a:bodyPr/>
        <a:lstStyle/>
        <a:p>
          <a:r>
            <a:rPr lang="en-US"/>
            <a:t>No performance monitoring data.</a:t>
          </a:r>
          <a:endParaRPr lang="fr-CH"/>
        </a:p>
      </dgm:t>
    </dgm:pt>
    <dgm:pt modelId="{1E40A76E-CC59-4DCE-A89D-7CCF4801B9C2}" type="parTrans" cxnId="{325E0526-5472-4B9F-9B75-8B8D92B67F05}">
      <dgm:prSet/>
      <dgm:spPr/>
      <dgm:t>
        <a:bodyPr/>
        <a:lstStyle/>
        <a:p>
          <a:endParaRPr lang="en-US"/>
        </a:p>
      </dgm:t>
    </dgm:pt>
    <dgm:pt modelId="{619D4306-269A-4145-A786-1A0F71CAD096}" type="sibTrans" cxnId="{325E0526-5472-4B9F-9B75-8B8D92B67F05}">
      <dgm:prSet/>
      <dgm:spPr/>
      <dgm:t>
        <a:bodyPr/>
        <a:lstStyle/>
        <a:p>
          <a:endParaRPr lang="en-US"/>
        </a:p>
      </dgm:t>
    </dgm:pt>
    <dgm:pt modelId="{C578F3D3-06C0-4F58-9D54-D4BB53E85432}" type="pres">
      <dgm:prSet presAssocID="{D6F5BA1E-8F68-4DC0-A663-B8D672BE187C}" presName="linear" presStyleCnt="0">
        <dgm:presLayoutVars>
          <dgm:animLvl val="lvl"/>
          <dgm:resizeHandles val="exact"/>
        </dgm:presLayoutVars>
      </dgm:prSet>
      <dgm:spPr/>
    </dgm:pt>
    <dgm:pt modelId="{2E46822D-2871-443D-ABA8-96E1139520E9}" type="pres">
      <dgm:prSet presAssocID="{C2751382-5AF9-4C79-8856-5301DB3ADD84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BCFC67CF-0670-4244-A10D-B044C9CFB83A}" type="pres">
      <dgm:prSet presAssocID="{177E95A0-0E20-4920-85C9-05412BDB8B22}" presName="spacer" presStyleCnt="0"/>
      <dgm:spPr/>
    </dgm:pt>
    <dgm:pt modelId="{C096B636-5F27-422F-BBF3-7176F6D76E90}" type="pres">
      <dgm:prSet presAssocID="{288E2E43-3E3E-4870-819A-892E2B8D751B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599BC704-C85D-4B31-A39C-9DAEE2A2810F}" type="pres">
      <dgm:prSet presAssocID="{B34E1273-8319-42E7-ADA3-F38FC4B4C4F2}" presName="spacer" presStyleCnt="0"/>
      <dgm:spPr/>
    </dgm:pt>
    <dgm:pt modelId="{F19E17B8-6BDE-4329-9898-E573B687100C}" type="pres">
      <dgm:prSet presAssocID="{9236084F-6E41-40EF-AC46-AE323BF99584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FCFF0A71-92EE-4FC1-855F-FBF5B9AF8B26}" type="pres">
      <dgm:prSet presAssocID="{8E79AAB5-5D12-4BBE-96F2-26414BA1A577}" presName="spacer" presStyleCnt="0"/>
      <dgm:spPr/>
    </dgm:pt>
    <dgm:pt modelId="{F3377828-1C25-4EFB-AE49-6B81F9F55166}" type="pres">
      <dgm:prSet presAssocID="{79CA1294-9012-4C9B-B037-867A1CA3DDD2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669552A3-6DAD-400F-8173-EABC9B45BAC6}" type="pres">
      <dgm:prSet presAssocID="{50D912E5-277E-4B24-B54F-EF6C36C8F646}" presName="spacer" presStyleCnt="0"/>
      <dgm:spPr/>
    </dgm:pt>
    <dgm:pt modelId="{E474F6F3-50D9-41E4-8DB7-9EC9718B2960}" type="pres">
      <dgm:prSet presAssocID="{6B682992-4503-496B-A7CF-8AB48E10AA73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FC5DA657-F79D-481B-A830-AAC0C70C4B6E}" type="pres">
      <dgm:prSet presAssocID="{10A4040F-1EB1-4889-9521-A15EAC994A4F}" presName="spacer" presStyleCnt="0"/>
      <dgm:spPr/>
    </dgm:pt>
    <dgm:pt modelId="{18ABB0F5-E94B-4D06-A29C-1CF19C5E8AAF}" type="pres">
      <dgm:prSet presAssocID="{3348D794-F8D5-4102-8C7E-477CF6432DE9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98E4A212-8FA5-4854-8192-CE98AEA493BE}" srcId="{D6F5BA1E-8F68-4DC0-A663-B8D672BE187C}" destId="{288E2E43-3E3E-4870-819A-892E2B8D751B}" srcOrd="1" destOrd="0" parTransId="{531F85A2-0DF4-4D63-A851-FABD44E68710}" sibTransId="{B34E1273-8319-42E7-ADA3-F38FC4B4C4F2}"/>
    <dgm:cxn modelId="{646AE823-EDC9-4FEF-A1E0-B0885891691E}" srcId="{D6F5BA1E-8F68-4DC0-A663-B8D672BE187C}" destId="{79CA1294-9012-4C9B-B037-867A1CA3DDD2}" srcOrd="3" destOrd="0" parTransId="{EA56EC7F-1E8C-4EBD-8C41-1865B8FC9883}" sibTransId="{50D912E5-277E-4B24-B54F-EF6C36C8F646}"/>
    <dgm:cxn modelId="{325E0526-5472-4B9F-9B75-8B8D92B67F05}" srcId="{D6F5BA1E-8F68-4DC0-A663-B8D672BE187C}" destId="{3348D794-F8D5-4102-8C7E-477CF6432DE9}" srcOrd="5" destOrd="0" parTransId="{1E40A76E-CC59-4DCE-A89D-7CCF4801B9C2}" sibTransId="{619D4306-269A-4145-A786-1A0F71CAD096}"/>
    <dgm:cxn modelId="{79BDA828-332F-4E1C-BF56-643F515C6823}" type="presOf" srcId="{D6F5BA1E-8F68-4DC0-A663-B8D672BE187C}" destId="{C578F3D3-06C0-4F58-9D54-D4BB53E85432}" srcOrd="0" destOrd="0" presId="urn:microsoft.com/office/officeart/2005/8/layout/vList2"/>
    <dgm:cxn modelId="{4FAECA3C-CB44-438F-94DD-B0C318DA5517}" type="presOf" srcId="{C2751382-5AF9-4C79-8856-5301DB3ADD84}" destId="{2E46822D-2871-443D-ABA8-96E1139520E9}" srcOrd="0" destOrd="0" presId="urn:microsoft.com/office/officeart/2005/8/layout/vList2"/>
    <dgm:cxn modelId="{D5167E3F-2E7D-4F99-977A-7E2B937C040D}" type="presOf" srcId="{79CA1294-9012-4C9B-B037-867A1CA3DDD2}" destId="{F3377828-1C25-4EFB-AE49-6B81F9F55166}" srcOrd="0" destOrd="0" presId="urn:microsoft.com/office/officeart/2005/8/layout/vList2"/>
    <dgm:cxn modelId="{0DCC9169-C1AF-4B15-B49B-6A54171BF0B8}" type="presOf" srcId="{3348D794-F8D5-4102-8C7E-477CF6432DE9}" destId="{18ABB0F5-E94B-4D06-A29C-1CF19C5E8AAF}" srcOrd="0" destOrd="0" presId="urn:microsoft.com/office/officeart/2005/8/layout/vList2"/>
    <dgm:cxn modelId="{03D15A4E-D7BF-4663-837E-5F3B136B9688}" srcId="{D6F5BA1E-8F68-4DC0-A663-B8D672BE187C}" destId="{9236084F-6E41-40EF-AC46-AE323BF99584}" srcOrd="2" destOrd="0" parTransId="{E83B4E3A-EE63-4E3A-9F5F-4E2E4609CD75}" sibTransId="{8E79AAB5-5D12-4BBE-96F2-26414BA1A577}"/>
    <dgm:cxn modelId="{6DA6FE71-4651-4356-821C-6C0E39451335}" type="presOf" srcId="{288E2E43-3E3E-4870-819A-892E2B8D751B}" destId="{C096B636-5F27-422F-BBF3-7176F6D76E90}" srcOrd="0" destOrd="0" presId="urn:microsoft.com/office/officeart/2005/8/layout/vList2"/>
    <dgm:cxn modelId="{F71A4754-C1CB-4F38-B4B2-B3F634DF522C}" srcId="{D6F5BA1E-8F68-4DC0-A663-B8D672BE187C}" destId="{6B682992-4503-496B-A7CF-8AB48E10AA73}" srcOrd="4" destOrd="0" parTransId="{42EF98BE-8870-441D-889C-E811AF7AE25E}" sibTransId="{10A4040F-1EB1-4889-9521-A15EAC994A4F}"/>
    <dgm:cxn modelId="{AF26008C-4BCA-42AC-A301-1376B06D0CB0}" type="presOf" srcId="{6B682992-4503-496B-A7CF-8AB48E10AA73}" destId="{E474F6F3-50D9-41E4-8DB7-9EC9718B2960}" srcOrd="0" destOrd="0" presId="urn:microsoft.com/office/officeart/2005/8/layout/vList2"/>
    <dgm:cxn modelId="{F488F19B-626C-4991-8576-17F6A590E918}" type="presOf" srcId="{9236084F-6E41-40EF-AC46-AE323BF99584}" destId="{F19E17B8-6BDE-4329-9898-E573B687100C}" srcOrd="0" destOrd="0" presId="urn:microsoft.com/office/officeart/2005/8/layout/vList2"/>
    <dgm:cxn modelId="{FD487CA4-F74A-451C-89E7-1FDA27FE445E}" srcId="{D6F5BA1E-8F68-4DC0-A663-B8D672BE187C}" destId="{C2751382-5AF9-4C79-8856-5301DB3ADD84}" srcOrd="0" destOrd="0" parTransId="{BE612DBD-E904-48F1-9AFE-7A3F7B4634E7}" sibTransId="{177E95A0-0E20-4920-85C9-05412BDB8B22}"/>
    <dgm:cxn modelId="{11B9C16C-BF8C-475B-855E-E9CE83C453EC}" type="presParOf" srcId="{C578F3D3-06C0-4F58-9D54-D4BB53E85432}" destId="{2E46822D-2871-443D-ABA8-96E1139520E9}" srcOrd="0" destOrd="0" presId="urn:microsoft.com/office/officeart/2005/8/layout/vList2"/>
    <dgm:cxn modelId="{535FA82F-3D22-41BC-8CFC-9A31FF2463AC}" type="presParOf" srcId="{C578F3D3-06C0-4F58-9D54-D4BB53E85432}" destId="{BCFC67CF-0670-4244-A10D-B044C9CFB83A}" srcOrd="1" destOrd="0" presId="urn:microsoft.com/office/officeart/2005/8/layout/vList2"/>
    <dgm:cxn modelId="{0C982ADA-42F2-4AE5-B030-D3C56368FAB2}" type="presParOf" srcId="{C578F3D3-06C0-4F58-9D54-D4BB53E85432}" destId="{C096B636-5F27-422F-BBF3-7176F6D76E90}" srcOrd="2" destOrd="0" presId="urn:microsoft.com/office/officeart/2005/8/layout/vList2"/>
    <dgm:cxn modelId="{333D301E-9EF5-4FAA-9AD6-61D8821A1C4B}" type="presParOf" srcId="{C578F3D3-06C0-4F58-9D54-D4BB53E85432}" destId="{599BC704-C85D-4B31-A39C-9DAEE2A2810F}" srcOrd="3" destOrd="0" presId="urn:microsoft.com/office/officeart/2005/8/layout/vList2"/>
    <dgm:cxn modelId="{9D228F58-B48F-40E0-86FD-A6CEACF8EA9D}" type="presParOf" srcId="{C578F3D3-06C0-4F58-9D54-D4BB53E85432}" destId="{F19E17B8-6BDE-4329-9898-E573B687100C}" srcOrd="4" destOrd="0" presId="urn:microsoft.com/office/officeart/2005/8/layout/vList2"/>
    <dgm:cxn modelId="{0CDEBB7B-CE49-412E-88FE-C6BE20A469AC}" type="presParOf" srcId="{C578F3D3-06C0-4F58-9D54-D4BB53E85432}" destId="{FCFF0A71-92EE-4FC1-855F-FBF5B9AF8B26}" srcOrd="5" destOrd="0" presId="urn:microsoft.com/office/officeart/2005/8/layout/vList2"/>
    <dgm:cxn modelId="{E7C96663-14FC-459B-9E8E-7D665937667B}" type="presParOf" srcId="{C578F3D3-06C0-4F58-9D54-D4BB53E85432}" destId="{F3377828-1C25-4EFB-AE49-6B81F9F55166}" srcOrd="6" destOrd="0" presId="urn:microsoft.com/office/officeart/2005/8/layout/vList2"/>
    <dgm:cxn modelId="{EFE98773-6D7F-4299-94A8-907C7D5BC82E}" type="presParOf" srcId="{C578F3D3-06C0-4F58-9D54-D4BB53E85432}" destId="{669552A3-6DAD-400F-8173-EABC9B45BAC6}" srcOrd="7" destOrd="0" presId="urn:microsoft.com/office/officeart/2005/8/layout/vList2"/>
    <dgm:cxn modelId="{49D1B2CD-3BBE-497E-B1CF-3DAAAE20C356}" type="presParOf" srcId="{C578F3D3-06C0-4F58-9D54-D4BB53E85432}" destId="{E474F6F3-50D9-41E4-8DB7-9EC9718B2960}" srcOrd="8" destOrd="0" presId="urn:microsoft.com/office/officeart/2005/8/layout/vList2"/>
    <dgm:cxn modelId="{ED3F9C3B-129B-47E5-9875-1CDCE9F14C42}" type="presParOf" srcId="{C578F3D3-06C0-4F58-9D54-D4BB53E85432}" destId="{FC5DA657-F79D-481B-A830-AAC0C70C4B6E}" srcOrd="9" destOrd="0" presId="urn:microsoft.com/office/officeart/2005/8/layout/vList2"/>
    <dgm:cxn modelId="{C54C98FE-7305-4A3E-98B6-31A82491FA0F}" type="presParOf" srcId="{C578F3D3-06C0-4F58-9D54-D4BB53E85432}" destId="{18ABB0F5-E94B-4D06-A29C-1CF19C5E8AAF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242A5D0-A172-48DD-A977-64A7ACD54E9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EEA3C4AA-291F-46C9-A010-0DA4C0D755EE}">
      <dgm:prSet/>
      <dgm:spPr/>
      <dgm:t>
        <a:bodyPr/>
        <a:lstStyle/>
        <a:p>
          <a:r>
            <a:rPr lang="fr-CH" dirty="0"/>
            <a:t>1. Performance </a:t>
          </a:r>
          <a:r>
            <a:rPr lang="fr-CH" dirty="0" err="1"/>
            <a:t>reporting</a:t>
          </a:r>
          <a:r>
            <a:rPr lang="fr-CH" dirty="0"/>
            <a:t> (</a:t>
          </a:r>
          <a:r>
            <a:rPr lang="fr-CH" dirty="0" err="1"/>
            <a:t>results</a:t>
          </a:r>
          <a:r>
            <a:rPr lang="fr-CH" dirty="0"/>
            <a:t>, </a:t>
          </a:r>
          <a:r>
            <a:rPr lang="fr-CH" dirty="0" err="1"/>
            <a:t>beneficiaries</a:t>
          </a:r>
          <a:r>
            <a:rPr lang="fr-CH" dirty="0"/>
            <a:t>) – OSC not fit for </a:t>
          </a:r>
          <a:r>
            <a:rPr lang="fr-CH" dirty="0" err="1"/>
            <a:t>purpose</a:t>
          </a:r>
          <a:r>
            <a:rPr lang="fr-CH" dirty="0"/>
            <a:t> – </a:t>
          </a:r>
          <a:r>
            <a:rPr lang="fr-CH" dirty="0" err="1"/>
            <a:t>engaging</a:t>
          </a:r>
          <a:r>
            <a:rPr lang="fr-CH" dirty="0"/>
            <a:t> </a:t>
          </a:r>
          <a:r>
            <a:rPr lang="fr-CH" dirty="0" err="1"/>
            <a:t>with</a:t>
          </a:r>
          <a:r>
            <a:rPr lang="fr-CH" dirty="0"/>
            <a:t> PRG network </a:t>
          </a:r>
          <a:r>
            <a:rPr lang="fr-CH" dirty="0" err="1"/>
            <a:t>colleagues</a:t>
          </a:r>
          <a:r>
            <a:rPr lang="fr-CH" dirty="0"/>
            <a:t> to </a:t>
          </a:r>
          <a:r>
            <a:rPr lang="fr-CH" dirty="0" err="1"/>
            <a:t>find</a:t>
          </a:r>
          <a:r>
            <a:rPr lang="fr-CH" dirty="0"/>
            <a:t> best </a:t>
          </a:r>
          <a:r>
            <a:rPr lang="fr-CH" dirty="0" err="1"/>
            <a:t>approached</a:t>
          </a:r>
          <a:endParaRPr lang="fr-CH" dirty="0"/>
        </a:p>
      </dgm:t>
    </dgm:pt>
    <dgm:pt modelId="{23CDD055-8BED-4EA0-B493-99BE9092F0D8}" type="parTrans" cxnId="{BEC80CB6-EA34-4A26-8900-F83672A6EAA5}">
      <dgm:prSet/>
      <dgm:spPr/>
      <dgm:t>
        <a:bodyPr/>
        <a:lstStyle/>
        <a:p>
          <a:endParaRPr lang="fr-CH"/>
        </a:p>
      </dgm:t>
    </dgm:pt>
    <dgm:pt modelId="{E5796AD6-6636-40DE-A672-BC9390132184}" type="sibTrans" cxnId="{BEC80CB6-EA34-4A26-8900-F83672A6EAA5}">
      <dgm:prSet/>
      <dgm:spPr/>
      <dgm:t>
        <a:bodyPr/>
        <a:lstStyle/>
        <a:p>
          <a:endParaRPr lang="fr-CH"/>
        </a:p>
      </dgm:t>
    </dgm:pt>
    <dgm:pt modelId="{D569C13C-D088-4114-B6AB-2DB0B5A174FF}">
      <dgm:prSet/>
      <dgm:spPr/>
      <dgm:t>
        <a:bodyPr/>
        <a:lstStyle/>
        <a:p>
          <a:r>
            <a:rPr lang="fr-CH" dirty="0"/>
            <a:t>2. </a:t>
          </a:r>
          <a:r>
            <a:rPr lang="fr-CH" dirty="0" err="1"/>
            <a:t>Networked</a:t>
          </a:r>
          <a:r>
            <a:rPr lang="fr-CH" dirty="0"/>
            <a:t> data : </a:t>
          </a:r>
          <a:r>
            <a:rPr lang="fr-CH" dirty="0" err="1"/>
            <a:t>Expenditures</a:t>
          </a:r>
          <a:r>
            <a:rPr lang="fr-CH" dirty="0"/>
            <a:t> to </a:t>
          </a:r>
          <a:r>
            <a:rPr lang="fr-CH" dirty="0" err="1"/>
            <a:t>counterparts</a:t>
          </a:r>
          <a:r>
            <a:rPr lang="fr-CH" dirty="0"/>
            <a:t> </a:t>
          </a:r>
          <a:r>
            <a:rPr lang="fr-CH" dirty="0" err="1"/>
            <a:t>tagged</a:t>
          </a:r>
          <a:r>
            <a:rPr lang="fr-CH" dirty="0"/>
            <a:t> </a:t>
          </a:r>
          <a:r>
            <a:rPr lang="fr-CH" dirty="0" err="1"/>
            <a:t>with</a:t>
          </a:r>
          <a:r>
            <a:rPr lang="fr-CH" dirty="0"/>
            <a:t> IATI ID / </a:t>
          </a:r>
          <a:r>
            <a:rPr lang="fr-CH" dirty="0" err="1"/>
            <a:t>funding</a:t>
          </a:r>
          <a:r>
            <a:rPr lang="fr-CH" dirty="0"/>
            <a:t> </a:t>
          </a:r>
          <a:r>
            <a:rPr lang="fr-CH" dirty="0" err="1"/>
            <a:t>from</a:t>
          </a:r>
          <a:r>
            <a:rPr lang="fr-CH" dirty="0"/>
            <a:t> </a:t>
          </a:r>
          <a:r>
            <a:rPr lang="fr-CH" dirty="0" err="1"/>
            <a:t>other</a:t>
          </a:r>
          <a:r>
            <a:rPr lang="fr-CH" dirty="0"/>
            <a:t> </a:t>
          </a:r>
          <a:r>
            <a:rPr lang="fr-CH" dirty="0" err="1"/>
            <a:t>publishers</a:t>
          </a:r>
          <a:r>
            <a:rPr lang="fr-CH" dirty="0"/>
            <a:t> </a:t>
          </a:r>
          <a:r>
            <a:rPr lang="fr-CH" dirty="0" err="1"/>
            <a:t>tagged</a:t>
          </a:r>
          <a:r>
            <a:rPr lang="fr-CH" dirty="0"/>
            <a:t> </a:t>
          </a:r>
          <a:r>
            <a:rPr lang="fr-CH" dirty="0" err="1"/>
            <a:t>with</a:t>
          </a:r>
          <a:r>
            <a:rPr lang="fr-CH" dirty="0"/>
            <a:t> IATI ID</a:t>
          </a:r>
        </a:p>
      </dgm:t>
    </dgm:pt>
    <dgm:pt modelId="{73FC2718-6D6E-4228-B39B-4D12680C6A24}" type="parTrans" cxnId="{92BB6C51-47EA-4C50-BF05-F14A11160A3C}">
      <dgm:prSet/>
      <dgm:spPr/>
      <dgm:t>
        <a:bodyPr/>
        <a:lstStyle/>
        <a:p>
          <a:endParaRPr lang="fr-CH"/>
        </a:p>
      </dgm:t>
    </dgm:pt>
    <dgm:pt modelId="{E25E47B0-10E7-4693-8031-3585F51F0253}" type="sibTrans" cxnId="{92BB6C51-47EA-4C50-BF05-F14A11160A3C}">
      <dgm:prSet/>
      <dgm:spPr/>
      <dgm:t>
        <a:bodyPr/>
        <a:lstStyle/>
        <a:p>
          <a:endParaRPr lang="fr-CH"/>
        </a:p>
      </dgm:t>
    </dgm:pt>
    <dgm:pt modelId="{7136BE44-683D-4A15-8677-544F47F760E6}" type="pres">
      <dgm:prSet presAssocID="{D242A5D0-A172-48DD-A977-64A7ACD54E9E}" presName="linear" presStyleCnt="0">
        <dgm:presLayoutVars>
          <dgm:animLvl val="lvl"/>
          <dgm:resizeHandles val="exact"/>
        </dgm:presLayoutVars>
      </dgm:prSet>
      <dgm:spPr/>
    </dgm:pt>
    <dgm:pt modelId="{AFA8FA45-F16C-4097-B2A9-DE57AB3730FB}" type="pres">
      <dgm:prSet presAssocID="{EEA3C4AA-291F-46C9-A010-0DA4C0D755EE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582AB0FC-2E43-4230-A98C-101CD988586F}" type="pres">
      <dgm:prSet presAssocID="{E5796AD6-6636-40DE-A672-BC9390132184}" presName="spacer" presStyleCnt="0"/>
      <dgm:spPr/>
    </dgm:pt>
    <dgm:pt modelId="{AE6D5275-3084-4A34-9BEC-7EB77F935DDA}" type="pres">
      <dgm:prSet presAssocID="{D569C13C-D088-4114-B6AB-2DB0B5A174FF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61D9985E-9435-40E8-BACD-D9187C6F00BC}" type="presOf" srcId="{D569C13C-D088-4114-B6AB-2DB0B5A174FF}" destId="{AE6D5275-3084-4A34-9BEC-7EB77F935DDA}" srcOrd="0" destOrd="0" presId="urn:microsoft.com/office/officeart/2005/8/layout/vList2"/>
    <dgm:cxn modelId="{C720AE6F-92FE-47EF-943F-2580920C9A95}" type="presOf" srcId="{D242A5D0-A172-48DD-A977-64A7ACD54E9E}" destId="{7136BE44-683D-4A15-8677-544F47F760E6}" srcOrd="0" destOrd="0" presId="urn:microsoft.com/office/officeart/2005/8/layout/vList2"/>
    <dgm:cxn modelId="{92BB6C51-47EA-4C50-BF05-F14A11160A3C}" srcId="{D242A5D0-A172-48DD-A977-64A7ACD54E9E}" destId="{D569C13C-D088-4114-B6AB-2DB0B5A174FF}" srcOrd="1" destOrd="0" parTransId="{73FC2718-6D6E-4228-B39B-4D12680C6A24}" sibTransId="{E25E47B0-10E7-4693-8031-3585F51F0253}"/>
    <dgm:cxn modelId="{1BE28878-78F3-454C-9BAD-630347CAB839}" type="presOf" srcId="{EEA3C4AA-291F-46C9-A010-0DA4C0D755EE}" destId="{AFA8FA45-F16C-4097-B2A9-DE57AB3730FB}" srcOrd="0" destOrd="0" presId="urn:microsoft.com/office/officeart/2005/8/layout/vList2"/>
    <dgm:cxn modelId="{BEC80CB6-EA34-4A26-8900-F83672A6EAA5}" srcId="{D242A5D0-A172-48DD-A977-64A7ACD54E9E}" destId="{EEA3C4AA-291F-46C9-A010-0DA4C0D755EE}" srcOrd="0" destOrd="0" parTransId="{23CDD055-8BED-4EA0-B493-99BE9092F0D8}" sibTransId="{E5796AD6-6636-40DE-A672-BC9390132184}"/>
    <dgm:cxn modelId="{64BC32AC-D0D8-41F5-BF09-11CFB50BDB87}" type="presParOf" srcId="{7136BE44-683D-4A15-8677-544F47F760E6}" destId="{AFA8FA45-F16C-4097-B2A9-DE57AB3730FB}" srcOrd="0" destOrd="0" presId="urn:microsoft.com/office/officeart/2005/8/layout/vList2"/>
    <dgm:cxn modelId="{8E90D25C-64F2-4873-A2C5-74C039BD4C1B}" type="presParOf" srcId="{7136BE44-683D-4A15-8677-544F47F760E6}" destId="{582AB0FC-2E43-4230-A98C-101CD988586F}" srcOrd="1" destOrd="0" presId="urn:microsoft.com/office/officeart/2005/8/layout/vList2"/>
    <dgm:cxn modelId="{1CDC4809-477E-4D9F-8441-429D42FB27EF}" type="presParOf" srcId="{7136BE44-683D-4A15-8677-544F47F760E6}" destId="{AE6D5275-3084-4A34-9BEC-7EB77F935DD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6F5139-B81D-444F-B662-6EC6826894CB}">
      <dsp:nvSpPr>
        <dsp:cNvPr id="0" name=""/>
        <dsp:cNvSpPr/>
      </dsp:nvSpPr>
      <dsp:spPr>
        <a:xfrm>
          <a:off x="0" y="33875"/>
          <a:ext cx="11194869" cy="8738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ATI (International Aid Transparency Initiative) founded in 2012 to promote transparency</a:t>
          </a:r>
          <a:endParaRPr lang="fr-CH" sz="2000" kern="1200" dirty="0"/>
        </a:p>
      </dsp:txBody>
      <dsp:txXfrm>
        <a:off x="42656" y="76531"/>
        <a:ext cx="11109557" cy="788506"/>
      </dsp:txXfrm>
    </dsp:sp>
    <dsp:sp modelId="{292DCB8A-9FD6-4CA3-89C8-D5785DFBB2DA}">
      <dsp:nvSpPr>
        <dsp:cNvPr id="0" name=""/>
        <dsp:cNvSpPr/>
      </dsp:nvSpPr>
      <dsp:spPr>
        <a:xfrm>
          <a:off x="0" y="965293"/>
          <a:ext cx="11194869" cy="794503"/>
        </a:xfrm>
        <a:prstGeom prst="roundRect">
          <a:avLst/>
        </a:prstGeom>
        <a:solidFill>
          <a:srgbClr val="0099DD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FFFFFF"/>
              </a:solidFill>
              <a:latin typeface="Calibri" panose="020F0502020204030204"/>
              <a:ea typeface="+mn-ea"/>
              <a:cs typeface="+mn-cs"/>
            </a:rPr>
            <a:t>Developed a common standard (similar to ISO ones in spirit) for publishers to make their data available</a:t>
          </a:r>
          <a:endParaRPr lang="fr-CH" sz="2000" kern="1200" dirty="0">
            <a:solidFill>
              <a:srgbClr val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38784" y="1004077"/>
        <a:ext cx="11117301" cy="716935"/>
      </dsp:txXfrm>
    </dsp:sp>
    <dsp:sp modelId="{30B19454-7F28-40C7-BD48-031138C4C769}">
      <dsp:nvSpPr>
        <dsp:cNvPr id="0" name=""/>
        <dsp:cNvSpPr/>
      </dsp:nvSpPr>
      <dsp:spPr>
        <a:xfrm>
          <a:off x="0" y="1817397"/>
          <a:ext cx="11194869" cy="7945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urrently has 1,400+ publishers (ranging from governmental agencies, multilateral, NGOs, philanthropic foundations... ) </a:t>
          </a:r>
          <a:endParaRPr lang="fr-CH" sz="2000" kern="1200" dirty="0"/>
        </a:p>
      </dsp:txBody>
      <dsp:txXfrm>
        <a:off x="38784" y="1856181"/>
        <a:ext cx="11117301" cy="716935"/>
      </dsp:txXfrm>
    </dsp:sp>
    <dsp:sp modelId="{7E5966DF-B195-4B7C-9DB1-4C4533F93DB8}">
      <dsp:nvSpPr>
        <dsp:cNvPr id="0" name=""/>
        <dsp:cNvSpPr/>
      </dsp:nvSpPr>
      <dsp:spPr>
        <a:xfrm>
          <a:off x="0" y="2669500"/>
          <a:ext cx="11194869" cy="7945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Data should be at country and activity level (output for WHO) </a:t>
          </a:r>
          <a:endParaRPr lang="fr-CH" sz="2000" kern="1200"/>
        </a:p>
      </dsp:txBody>
      <dsp:txXfrm>
        <a:off x="38784" y="2708284"/>
        <a:ext cx="11117301" cy="716935"/>
      </dsp:txXfrm>
    </dsp:sp>
    <dsp:sp modelId="{0BF17C04-7BA4-4153-A454-6993A57CA407}">
      <dsp:nvSpPr>
        <dsp:cNvPr id="0" name=""/>
        <dsp:cNvSpPr/>
      </dsp:nvSpPr>
      <dsp:spPr>
        <a:xfrm>
          <a:off x="0" y="3521603"/>
          <a:ext cx="11194869" cy="7945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id Transparency Index is performed by Publish What You Fund, an NGO using on a biannual basis</a:t>
          </a:r>
          <a:endParaRPr lang="fr-CH" sz="2000" kern="1200" dirty="0"/>
        </a:p>
      </dsp:txBody>
      <dsp:txXfrm>
        <a:off x="38784" y="3560387"/>
        <a:ext cx="11117301" cy="7169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888241-FAD9-49F5-845F-A2F1C46997F4}">
      <dsp:nvSpPr>
        <dsp:cNvPr id="0" name=""/>
        <dsp:cNvSpPr/>
      </dsp:nvSpPr>
      <dsp:spPr>
        <a:xfrm>
          <a:off x="0" y="989433"/>
          <a:ext cx="6683828" cy="1319245"/>
        </a:xfrm>
        <a:prstGeom prst="notchedRightArrow">
          <a:avLst/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2FC80F-9848-4D7F-8B37-CC32D1CB91BD}">
      <dsp:nvSpPr>
        <dsp:cNvPr id="0" name=""/>
        <dsp:cNvSpPr/>
      </dsp:nvSpPr>
      <dsp:spPr>
        <a:xfrm>
          <a:off x="2643" y="0"/>
          <a:ext cx="1155799" cy="1319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b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800" kern="1200" dirty="0"/>
            <a:t>13-27 Sept-23 / Initial consultation on AIT </a:t>
          </a:r>
          <a:r>
            <a:rPr lang="fr-CH" sz="800" kern="1200" dirty="0" err="1"/>
            <a:t>ruleset</a:t>
          </a:r>
          <a:r>
            <a:rPr lang="fr-CH" sz="800" kern="1200" dirty="0"/>
            <a:t> tests</a:t>
          </a:r>
        </a:p>
      </dsp:txBody>
      <dsp:txXfrm>
        <a:off x="2643" y="0"/>
        <a:ext cx="1155799" cy="1319245"/>
      </dsp:txXfrm>
    </dsp:sp>
    <dsp:sp modelId="{10F39A0A-D66D-496D-8F77-1804D5BD740F}">
      <dsp:nvSpPr>
        <dsp:cNvPr id="0" name=""/>
        <dsp:cNvSpPr/>
      </dsp:nvSpPr>
      <dsp:spPr>
        <a:xfrm>
          <a:off x="415637" y="1484150"/>
          <a:ext cx="329811" cy="329811"/>
        </a:xfrm>
        <a:prstGeom prst="ellips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ECF9EC-068C-4685-835A-EF9EE249FC7C}">
      <dsp:nvSpPr>
        <dsp:cNvPr id="0" name=""/>
        <dsp:cNvSpPr/>
      </dsp:nvSpPr>
      <dsp:spPr>
        <a:xfrm>
          <a:off x="1216233" y="1978867"/>
          <a:ext cx="1155799" cy="1319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13 Nov-23 / Pre-assessment with an initial data dump (using IATI published information)</a:t>
          </a:r>
          <a:endParaRPr lang="fr-CH" sz="800" kern="1200" dirty="0"/>
        </a:p>
      </dsp:txBody>
      <dsp:txXfrm>
        <a:off x="1216233" y="1978867"/>
        <a:ext cx="1155799" cy="1319245"/>
      </dsp:txXfrm>
    </dsp:sp>
    <dsp:sp modelId="{5E9FAF79-5AFE-4643-8F2D-32A31A1206E8}">
      <dsp:nvSpPr>
        <dsp:cNvPr id="0" name=""/>
        <dsp:cNvSpPr/>
      </dsp:nvSpPr>
      <dsp:spPr>
        <a:xfrm>
          <a:off x="1629227" y="1484150"/>
          <a:ext cx="329811" cy="329811"/>
        </a:xfrm>
        <a:prstGeom prst="ellipse">
          <a:avLst/>
        </a:prstGeom>
        <a:solidFill>
          <a:schemeClr val="accent1">
            <a:shade val="50000"/>
            <a:hueOff val="286993"/>
            <a:satOff val="-15228"/>
            <a:lumOff val="199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EC90BB-2289-49A6-8452-C31B0CF092BF}">
      <dsp:nvSpPr>
        <dsp:cNvPr id="0" name=""/>
        <dsp:cNvSpPr/>
      </dsp:nvSpPr>
      <dsp:spPr>
        <a:xfrm>
          <a:off x="2429822" y="0"/>
          <a:ext cx="1155799" cy="1319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b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Dec-23 / WHO to receive a pre-assessment based on the initial data</a:t>
          </a:r>
          <a:endParaRPr lang="fr-CH" sz="800" kern="1200" dirty="0"/>
        </a:p>
      </dsp:txBody>
      <dsp:txXfrm>
        <a:off x="2429822" y="0"/>
        <a:ext cx="1155799" cy="1319245"/>
      </dsp:txXfrm>
    </dsp:sp>
    <dsp:sp modelId="{12C5B609-18B3-4377-985D-5A1D9744FB64}">
      <dsp:nvSpPr>
        <dsp:cNvPr id="0" name=""/>
        <dsp:cNvSpPr/>
      </dsp:nvSpPr>
      <dsp:spPr>
        <a:xfrm>
          <a:off x="2842816" y="1484150"/>
          <a:ext cx="329811" cy="329811"/>
        </a:xfrm>
        <a:prstGeom prst="ellipse">
          <a:avLst/>
        </a:prstGeom>
        <a:solidFill>
          <a:schemeClr val="accent1">
            <a:shade val="50000"/>
            <a:hueOff val="573986"/>
            <a:satOff val="-30456"/>
            <a:lumOff val="398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58D471-59E7-47AE-A928-7E281DFB5C4E}">
      <dsp:nvSpPr>
        <dsp:cNvPr id="0" name=""/>
        <dsp:cNvSpPr/>
      </dsp:nvSpPr>
      <dsp:spPr>
        <a:xfrm>
          <a:off x="3643412" y="1978867"/>
          <a:ext cx="1155799" cy="1319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31 Mar-24 / WHO to modify/amend/enhance any recommendation (when the official data dump will be processed);</a:t>
          </a:r>
          <a:endParaRPr lang="fr-CH" sz="800" kern="1200" dirty="0"/>
        </a:p>
      </dsp:txBody>
      <dsp:txXfrm>
        <a:off x="3643412" y="1978867"/>
        <a:ext cx="1155799" cy="1319245"/>
      </dsp:txXfrm>
    </dsp:sp>
    <dsp:sp modelId="{64190707-9837-41DF-8CC1-DF9AC35349D7}">
      <dsp:nvSpPr>
        <dsp:cNvPr id="0" name=""/>
        <dsp:cNvSpPr/>
      </dsp:nvSpPr>
      <dsp:spPr>
        <a:xfrm>
          <a:off x="4056406" y="1484150"/>
          <a:ext cx="329811" cy="329811"/>
        </a:xfrm>
        <a:prstGeom prst="ellipse">
          <a:avLst/>
        </a:prstGeom>
        <a:solidFill>
          <a:schemeClr val="accent1">
            <a:shade val="50000"/>
            <a:hueOff val="573986"/>
            <a:satOff val="-30456"/>
            <a:lumOff val="398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35019-0287-4C5D-B7F6-F5AB2017713A}">
      <dsp:nvSpPr>
        <dsp:cNvPr id="0" name=""/>
        <dsp:cNvSpPr/>
      </dsp:nvSpPr>
      <dsp:spPr>
        <a:xfrm>
          <a:off x="4857002" y="0"/>
          <a:ext cx="1155799" cy="13192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b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/>
            <a:t>Jul-24 / Final Index report to be published</a:t>
          </a:r>
          <a:endParaRPr lang="fr-CH" sz="800" kern="1200" dirty="0"/>
        </a:p>
      </dsp:txBody>
      <dsp:txXfrm>
        <a:off x="4857002" y="0"/>
        <a:ext cx="1155799" cy="1319245"/>
      </dsp:txXfrm>
    </dsp:sp>
    <dsp:sp modelId="{D68E782A-3932-4973-A3FB-C37AEC264B57}">
      <dsp:nvSpPr>
        <dsp:cNvPr id="0" name=""/>
        <dsp:cNvSpPr/>
      </dsp:nvSpPr>
      <dsp:spPr>
        <a:xfrm>
          <a:off x="5269996" y="1484150"/>
          <a:ext cx="329811" cy="329811"/>
        </a:xfrm>
        <a:prstGeom prst="ellipse">
          <a:avLst/>
        </a:prstGeom>
        <a:solidFill>
          <a:schemeClr val="accent1">
            <a:shade val="50000"/>
            <a:hueOff val="286993"/>
            <a:satOff val="-15228"/>
            <a:lumOff val="199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8D2B53-6DD6-403A-82B1-70A339327B99}">
      <dsp:nvSpPr>
        <dsp:cNvPr id="0" name=""/>
        <dsp:cNvSpPr/>
      </dsp:nvSpPr>
      <dsp:spPr>
        <a:xfrm>
          <a:off x="20" y="240144"/>
          <a:ext cx="1955340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 err="1"/>
            <a:t>Organisational</a:t>
          </a:r>
          <a:endParaRPr lang="en-US" sz="1000" kern="1200" dirty="0"/>
        </a:p>
      </dsp:txBody>
      <dsp:txXfrm>
        <a:off x="20" y="240144"/>
        <a:ext cx="1955340" cy="288000"/>
      </dsp:txXfrm>
    </dsp:sp>
    <dsp:sp modelId="{BA183F06-7E89-4FBD-9B3F-E147023AF26C}">
      <dsp:nvSpPr>
        <dsp:cNvPr id="0" name=""/>
        <dsp:cNvSpPr/>
      </dsp:nvSpPr>
      <dsp:spPr>
        <a:xfrm>
          <a:off x="20" y="528144"/>
          <a:ext cx="1955340" cy="147200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lanning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Commitment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Strategy</a:t>
          </a:r>
        </a:p>
      </dsp:txBody>
      <dsp:txXfrm>
        <a:off x="20" y="528144"/>
        <a:ext cx="1955340" cy="1472006"/>
      </dsp:txXfrm>
    </dsp:sp>
    <dsp:sp modelId="{4ACBB98B-27F6-455E-AFF5-E31908248B29}">
      <dsp:nvSpPr>
        <dsp:cNvPr id="0" name=""/>
        <dsp:cNvSpPr/>
      </dsp:nvSpPr>
      <dsp:spPr>
        <a:xfrm>
          <a:off x="2229108" y="240144"/>
          <a:ext cx="1955340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ctivity</a:t>
          </a:r>
        </a:p>
      </dsp:txBody>
      <dsp:txXfrm>
        <a:off x="2229108" y="240144"/>
        <a:ext cx="1955340" cy="288000"/>
      </dsp:txXfrm>
    </dsp:sp>
    <dsp:sp modelId="{A38C670B-5E14-4165-8268-F21AC31B459D}">
      <dsp:nvSpPr>
        <dsp:cNvPr id="0" name=""/>
        <dsp:cNvSpPr/>
      </dsp:nvSpPr>
      <dsp:spPr>
        <a:xfrm>
          <a:off x="2229108" y="528144"/>
          <a:ext cx="1955340" cy="147200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Finance and budgets (both aggregated and at country level);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roject attributes (especially timeline, status and geo location);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Joining-up development data (OECD DAC mappings + networked data);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erformance (objectives, reviews, evaluations, results).</a:t>
          </a:r>
        </a:p>
      </dsp:txBody>
      <dsp:txXfrm>
        <a:off x="2229108" y="528144"/>
        <a:ext cx="1955340" cy="14720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46822D-2871-443D-ABA8-96E1139520E9}">
      <dsp:nvSpPr>
        <dsp:cNvPr id="0" name=""/>
        <dsp:cNvSpPr/>
      </dsp:nvSpPr>
      <dsp:spPr>
        <a:xfrm>
          <a:off x="0" y="840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Frequency: monthly;</a:t>
          </a:r>
          <a:endParaRPr lang="fr-CH" sz="2200" kern="1200"/>
        </a:p>
      </dsp:txBody>
      <dsp:txXfrm>
        <a:off x="25759" y="34159"/>
        <a:ext cx="9244882" cy="476152"/>
      </dsp:txXfrm>
    </dsp:sp>
    <dsp:sp modelId="{C096B636-5F27-422F-BBF3-7176F6D76E90}">
      <dsp:nvSpPr>
        <dsp:cNvPr id="0" name=""/>
        <dsp:cNvSpPr/>
      </dsp:nvSpPr>
      <dsp:spPr>
        <a:xfrm>
          <a:off x="0" y="59943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oupled with PB Web portal updates;</a:t>
          </a:r>
          <a:endParaRPr lang="fr-CH" sz="2200" kern="1200"/>
        </a:p>
      </dsp:txBody>
      <dsp:txXfrm>
        <a:off x="25759" y="625189"/>
        <a:ext cx="9244882" cy="476152"/>
      </dsp:txXfrm>
    </dsp:sp>
    <dsp:sp modelId="{F19E17B8-6BDE-4329-9898-E573B687100C}">
      <dsp:nvSpPr>
        <dsp:cNvPr id="0" name=""/>
        <dsp:cNvSpPr/>
      </dsp:nvSpPr>
      <dsp:spPr>
        <a:xfrm>
          <a:off x="0" y="119046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ctivity = PB output;</a:t>
          </a:r>
          <a:endParaRPr lang="fr-CH" sz="2200" kern="1200"/>
        </a:p>
      </dsp:txBody>
      <dsp:txXfrm>
        <a:off x="25759" y="1216219"/>
        <a:ext cx="9244882" cy="476152"/>
      </dsp:txXfrm>
    </dsp:sp>
    <dsp:sp modelId="{F3377828-1C25-4EFB-AE49-6B81F9F55166}">
      <dsp:nvSpPr>
        <dsp:cNvPr id="0" name=""/>
        <dsp:cNvSpPr/>
      </dsp:nvSpPr>
      <dsp:spPr>
        <a:xfrm>
          <a:off x="0" y="178149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Expenditures are published at the transaction level (including date and type);</a:t>
          </a:r>
          <a:endParaRPr lang="fr-CH" sz="2200" kern="1200"/>
        </a:p>
      </dsp:txBody>
      <dsp:txXfrm>
        <a:off x="25759" y="1807249"/>
        <a:ext cx="9244882" cy="476152"/>
      </dsp:txXfrm>
    </dsp:sp>
    <dsp:sp modelId="{E474F6F3-50D9-41E4-8DB7-9EC9718B2960}">
      <dsp:nvSpPr>
        <dsp:cNvPr id="0" name=""/>
        <dsp:cNvSpPr/>
      </dsp:nvSpPr>
      <dsp:spPr>
        <a:xfrm>
          <a:off x="0" y="237252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Funding information (Award budget) is accrued;</a:t>
          </a:r>
          <a:endParaRPr lang="fr-CH" sz="2200" kern="1200"/>
        </a:p>
      </dsp:txBody>
      <dsp:txXfrm>
        <a:off x="25759" y="2398279"/>
        <a:ext cx="9244882" cy="476152"/>
      </dsp:txXfrm>
    </dsp:sp>
    <dsp:sp modelId="{18ABB0F5-E94B-4D06-A29C-1CF19C5E8AAF}">
      <dsp:nvSpPr>
        <dsp:cNvPr id="0" name=""/>
        <dsp:cNvSpPr/>
      </dsp:nvSpPr>
      <dsp:spPr>
        <a:xfrm>
          <a:off x="0" y="2963550"/>
          <a:ext cx="9296400" cy="5276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No performance monitoring data.</a:t>
          </a:r>
          <a:endParaRPr lang="fr-CH" sz="2200" kern="1200"/>
        </a:p>
      </dsp:txBody>
      <dsp:txXfrm>
        <a:off x="25759" y="2989309"/>
        <a:ext cx="9244882" cy="47615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A8FA45-F16C-4097-B2A9-DE57AB3730FB}">
      <dsp:nvSpPr>
        <dsp:cNvPr id="0" name=""/>
        <dsp:cNvSpPr/>
      </dsp:nvSpPr>
      <dsp:spPr>
        <a:xfrm>
          <a:off x="0" y="19174"/>
          <a:ext cx="11277599" cy="1074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700" kern="1200" dirty="0"/>
            <a:t>1. Performance </a:t>
          </a:r>
          <a:r>
            <a:rPr lang="fr-CH" sz="2700" kern="1200" dirty="0" err="1"/>
            <a:t>reporting</a:t>
          </a:r>
          <a:r>
            <a:rPr lang="fr-CH" sz="2700" kern="1200" dirty="0"/>
            <a:t> (</a:t>
          </a:r>
          <a:r>
            <a:rPr lang="fr-CH" sz="2700" kern="1200" dirty="0" err="1"/>
            <a:t>results</a:t>
          </a:r>
          <a:r>
            <a:rPr lang="fr-CH" sz="2700" kern="1200" dirty="0"/>
            <a:t>, </a:t>
          </a:r>
          <a:r>
            <a:rPr lang="fr-CH" sz="2700" kern="1200" dirty="0" err="1"/>
            <a:t>beneficiaries</a:t>
          </a:r>
          <a:r>
            <a:rPr lang="fr-CH" sz="2700" kern="1200" dirty="0"/>
            <a:t>) – OSC not fit for </a:t>
          </a:r>
          <a:r>
            <a:rPr lang="fr-CH" sz="2700" kern="1200" dirty="0" err="1"/>
            <a:t>purpose</a:t>
          </a:r>
          <a:r>
            <a:rPr lang="fr-CH" sz="2700" kern="1200" dirty="0"/>
            <a:t> – </a:t>
          </a:r>
          <a:r>
            <a:rPr lang="fr-CH" sz="2700" kern="1200" dirty="0" err="1"/>
            <a:t>engaging</a:t>
          </a:r>
          <a:r>
            <a:rPr lang="fr-CH" sz="2700" kern="1200" dirty="0"/>
            <a:t> </a:t>
          </a:r>
          <a:r>
            <a:rPr lang="fr-CH" sz="2700" kern="1200" dirty="0" err="1"/>
            <a:t>with</a:t>
          </a:r>
          <a:r>
            <a:rPr lang="fr-CH" sz="2700" kern="1200" dirty="0"/>
            <a:t> PRG network </a:t>
          </a:r>
          <a:r>
            <a:rPr lang="fr-CH" sz="2700" kern="1200" dirty="0" err="1"/>
            <a:t>colleagues</a:t>
          </a:r>
          <a:r>
            <a:rPr lang="fr-CH" sz="2700" kern="1200" dirty="0"/>
            <a:t> to </a:t>
          </a:r>
          <a:r>
            <a:rPr lang="fr-CH" sz="2700" kern="1200" dirty="0" err="1"/>
            <a:t>find</a:t>
          </a:r>
          <a:r>
            <a:rPr lang="fr-CH" sz="2700" kern="1200" dirty="0"/>
            <a:t> best </a:t>
          </a:r>
          <a:r>
            <a:rPr lang="fr-CH" sz="2700" kern="1200" dirty="0" err="1"/>
            <a:t>approached</a:t>
          </a:r>
          <a:endParaRPr lang="fr-CH" sz="2700" kern="1200" dirty="0"/>
        </a:p>
      </dsp:txBody>
      <dsp:txXfrm>
        <a:off x="52431" y="71605"/>
        <a:ext cx="11172737" cy="969198"/>
      </dsp:txXfrm>
    </dsp:sp>
    <dsp:sp modelId="{AE6D5275-3084-4A34-9BEC-7EB77F935DDA}">
      <dsp:nvSpPr>
        <dsp:cNvPr id="0" name=""/>
        <dsp:cNvSpPr/>
      </dsp:nvSpPr>
      <dsp:spPr>
        <a:xfrm>
          <a:off x="0" y="1170994"/>
          <a:ext cx="11277599" cy="1074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700" kern="1200" dirty="0"/>
            <a:t>2. </a:t>
          </a:r>
          <a:r>
            <a:rPr lang="fr-CH" sz="2700" kern="1200" dirty="0" err="1"/>
            <a:t>Networked</a:t>
          </a:r>
          <a:r>
            <a:rPr lang="fr-CH" sz="2700" kern="1200" dirty="0"/>
            <a:t> data : </a:t>
          </a:r>
          <a:r>
            <a:rPr lang="fr-CH" sz="2700" kern="1200" dirty="0" err="1"/>
            <a:t>Expenditures</a:t>
          </a:r>
          <a:r>
            <a:rPr lang="fr-CH" sz="2700" kern="1200" dirty="0"/>
            <a:t> to </a:t>
          </a:r>
          <a:r>
            <a:rPr lang="fr-CH" sz="2700" kern="1200" dirty="0" err="1"/>
            <a:t>counterparts</a:t>
          </a:r>
          <a:r>
            <a:rPr lang="fr-CH" sz="2700" kern="1200" dirty="0"/>
            <a:t> </a:t>
          </a:r>
          <a:r>
            <a:rPr lang="fr-CH" sz="2700" kern="1200" dirty="0" err="1"/>
            <a:t>tagged</a:t>
          </a:r>
          <a:r>
            <a:rPr lang="fr-CH" sz="2700" kern="1200" dirty="0"/>
            <a:t> </a:t>
          </a:r>
          <a:r>
            <a:rPr lang="fr-CH" sz="2700" kern="1200" dirty="0" err="1"/>
            <a:t>with</a:t>
          </a:r>
          <a:r>
            <a:rPr lang="fr-CH" sz="2700" kern="1200" dirty="0"/>
            <a:t> IATI ID / </a:t>
          </a:r>
          <a:r>
            <a:rPr lang="fr-CH" sz="2700" kern="1200" dirty="0" err="1"/>
            <a:t>funding</a:t>
          </a:r>
          <a:r>
            <a:rPr lang="fr-CH" sz="2700" kern="1200" dirty="0"/>
            <a:t> </a:t>
          </a:r>
          <a:r>
            <a:rPr lang="fr-CH" sz="2700" kern="1200" dirty="0" err="1"/>
            <a:t>from</a:t>
          </a:r>
          <a:r>
            <a:rPr lang="fr-CH" sz="2700" kern="1200" dirty="0"/>
            <a:t> </a:t>
          </a:r>
          <a:r>
            <a:rPr lang="fr-CH" sz="2700" kern="1200" dirty="0" err="1"/>
            <a:t>other</a:t>
          </a:r>
          <a:r>
            <a:rPr lang="fr-CH" sz="2700" kern="1200" dirty="0"/>
            <a:t> </a:t>
          </a:r>
          <a:r>
            <a:rPr lang="fr-CH" sz="2700" kern="1200" dirty="0" err="1"/>
            <a:t>publishers</a:t>
          </a:r>
          <a:r>
            <a:rPr lang="fr-CH" sz="2700" kern="1200" dirty="0"/>
            <a:t> </a:t>
          </a:r>
          <a:r>
            <a:rPr lang="fr-CH" sz="2700" kern="1200" dirty="0" err="1"/>
            <a:t>tagged</a:t>
          </a:r>
          <a:r>
            <a:rPr lang="fr-CH" sz="2700" kern="1200" dirty="0"/>
            <a:t> </a:t>
          </a:r>
          <a:r>
            <a:rPr lang="fr-CH" sz="2700" kern="1200" dirty="0" err="1"/>
            <a:t>with</a:t>
          </a:r>
          <a:r>
            <a:rPr lang="fr-CH" sz="2700" kern="1200" dirty="0"/>
            <a:t> IATI ID</a:t>
          </a:r>
        </a:p>
      </dsp:txBody>
      <dsp:txXfrm>
        <a:off x="52431" y="1223425"/>
        <a:ext cx="11172737" cy="9691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B25686-C135-714D-ADAE-A031C4BC0204}" type="datetimeFigureOut">
              <a:rPr lang="en-US" smtClean="0"/>
              <a:t>13-Sep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85B747-18E9-E746-A276-B387773C2A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771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488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hands holding a child's hand&#10;&#10;Description automatically generated with medium confidence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F263B6D-8996-474F-BAA8-575C05E66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532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31A47E6-021F-C944-BAE1-D55D61F608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163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E0C0D0-CCE0-8E4F-A363-BB316DFA3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239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475906B-9E00-8348-A356-A1DE427D3C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0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9FB247-3197-0943-93E9-189420DEBD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05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51DC5B-DFE6-E242-ACD8-A305694C98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84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1628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2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672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918AED1-D52B-B843-8422-E6CDCCEE03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25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550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545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12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1610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9587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3091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166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5" y="6000906"/>
            <a:ext cx="1828792" cy="55681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  <a:endParaRPr lang="en-US" dirty="0">
              <a:solidFill>
                <a:srgbClr val="00205C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1071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340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128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77C92E-FD76-CA4F-9DDF-75EE90F0F3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0502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9A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595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981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9309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0D277E7-B8AB-6149-A9B0-222EC5A514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937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451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00D91A6-1DEF-C742-BB2B-4F0CE8BD1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2450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FAF92-E612-AE40-ABFE-2A513B425F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3069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1AF795-8C85-814F-914D-9EBE0519A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992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318E81-63F9-2444-AF93-3EF243AFF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3393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0CC6A7D-F186-344A-AFAE-1F4FB8A6C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5541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5724E3-FDE3-2149-BB91-FE058CAA9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698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07A3732-E7A9-B344-8DAE-D56547DA5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29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2992776-3670-F24B-B4C8-03460D5C00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871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484C8C0-9FE5-7B48-A8C7-062291516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023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9261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1AFBD7E-873F-FC49-A840-08A744808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92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F07AB91-D215-9B41-9808-46FFB4D27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244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A501AEF-ABA1-5B46-9DF6-FA16A49F3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663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91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721B3-1393-424A-8F5B-131AC86253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22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0541BB-47E2-45C7-B0E1-E9BABF6BF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517608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71" imgH="470" progId="TCLayout.ActiveDocument.1">
                  <p:embed/>
                </p:oleObj>
              </mc:Choice>
              <mc:Fallback>
                <p:oleObj name="think-cell Slide" r:id="rId45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77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5" r:id="rId3"/>
    <p:sldLayoutId id="2147483649" r:id="rId4"/>
    <p:sldLayoutId id="2147483658" r:id="rId5"/>
    <p:sldLayoutId id="2147483667" r:id="rId6"/>
    <p:sldLayoutId id="2147483660" r:id="rId7"/>
    <p:sldLayoutId id="2147483662" r:id="rId8"/>
    <p:sldLayoutId id="2147483673" r:id="rId9"/>
    <p:sldLayoutId id="2147483669" r:id="rId10"/>
    <p:sldLayoutId id="2147483670" r:id="rId11"/>
    <p:sldLayoutId id="2147483671" r:id="rId12"/>
    <p:sldLayoutId id="2147483672" r:id="rId13"/>
    <p:sldLayoutId id="2147483678" r:id="rId14"/>
    <p:sldLayoutId id="2147483681" r:id="rId15"/>
    <p:sldLayoutId id="2147483682" r:id="rId16"/>
    <p:sldLayoutId id="2147483687" r:id="rId17"/>
    <p:sldLayoutId id="2147483688" r:id="rId18"/>
    <p:sldLayoutId id="2147483680" r:id="rId19"/>
    <p:sldLayoutId id="2147483679" r:id="rId20"/>
    <p:sldLayoutId id="2147483689" r:id="rId21"/>
    <p:sldLayoutId id="2147483694" r:id="rId22"/>
    <p:sldLayoutId id="2147483695" r:id="rId23"/>
    <p:sldLayoutId id="2147483677" r:id="rId24"/>
    <p:sldLayoutId id="2147483692" r:id="rId25"/>
    <p:sldLayoutId id="2147483693" r:id="rId26"/>
    <p:sldLayoutId id="2147483650" r:id="rId27"/>
    <p:sldLayoutId id="2147483690" r:id="rId28"/>
    <p:sldLayoutId id="2147483676" r:id="rId29"/>
    <p:sldLayoutId id="2147483654" r:id="rId30"/>
    <p:sldLayoutId id="2147483691" r:id="rId31"/>
    <p:sldLayoutId id="2147483666" r:id="rId32"/>
    <p:sldLayoutId id="2147483674" r:id="rId33"/>
    <p:sldLayoutId id="2147483683" r:id="rId34"/>
    <p:sldLayoutId id="2147483675" r:id="rId35"/>
    <p:sldLayoutId id="2147483684" r:id="rId36"/>
    <p:sldLayoutId id="2147483652" r:id="rId37"/>
    <p:sldLayoutId id="2147483653" r:id="rId38"/>
    <p:sldLayoutId id="2147483656" r:id="rId39"/>
    <p:sldLayoutId id="2147483657" r:id="rId40"/>
    <p:sldLayoutId id="2147483685" r:id="rId41"/>
    <p:sldLayoutId id="2147483686" r:id="rId4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6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2.emf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diagramColors" Target="../diagrams/colors3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2.xml"/><Relationship Id="rId12" Type="http://schemas.openxmlformats.org/officeDocument/2006/relationships/diagramQuickStyle" Target="../diagrams/quickStyle3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7.xml"/><Relationship Id="rId6" Type="http://schemas.openxmlformats.org/officeDocument/2006/relationships/diagramLayout" Target="../diagrams/layout2.xml"/><Relationship Id="rId11" Type="http://schemas.openxmlformats.org/officeDocument/2006/relationships/diagramLayout" Target="../diagrams/layout3.xml"/><Relationship Id="rId5" Type="http://schemas.openxmlformats.org/officeDocument/2006/relationships/diagramData" Target="../diagrams/data2.xml"/><Relationship Id="rId10" Type="http://schemas.openxmlformats.org/officeDocument/2006/relationships/diagramData" Target="../diagrams/data3.xml"/><Relationship Id="rId4" Type="http://schemas.openxmlformats.org/officeDocument/2006/relationships/image" Target="../media/image22.emf"/><Relationship Id="rId9" Type="http://schemas.microsoft.com/office/2007/relationships/diagramDrawing" Target="../diagrams/drawing2.xml"/><Relationship Id="rId14" Type="http://schemas.microsoft.com/office/2007/relationships/diagramDrawing" Target="../diagrams/drawin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22.emf"/><Relationship Id="rId9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oleObject" Target="../embeddings/oleObject7.bin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9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22.emf"/><Relationship Id="rId9" Type="http://schemas.microsoft.com/office/2007/relationships/diagramDrawing" Target="../diagrams/drawin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9B0AB5-A095-7FFF-BA08-9A8741A3FF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96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21935B-BFAF-A149-9CC6-0144782A91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199" y="685419"/>
            <a:ext cx="7186475" cy="2387600"/>
          </a:xfrm>
        </p:spPr>
        <p:txBody>
          <a:bodyPr vert="horz"/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2024 Aid Transparency Index </a:t>
            </a:r>
            <a:endParaRPr lang="en-US" alt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D35A70-B505-6E47-94EF-8F871A1359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atus update</a:t>
            </a:r>
          </a:p>
        </p:txBody>
      </p:sp>
      <p:pic>
        <p:nvPicPr>
          <p:cNvPr id="4" name="Picture 3" descr="A person smil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53910816-F718-874F-A561-D64DDCF29AE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419" y="-984250"/>
            <a:ext cx="11763374" cy="784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87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99A5A3-6757-4785-F47C-725A22D01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698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FAEF0E20-816F-24F7-849E-359F0A3E3D2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57199" y="1690689"/>
            <a:ext cx="6288088" cy="1281113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1"/>
            </a:solidFill>
          </a:ln>
          <a:effectLst/>
        </p:spPr>
        <p:txBody>
          <a:bodyPr vert="horz" wrap="none" lIns="92075" tIns="92075" rIns="0" bIns="904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CH" altLang="en-US" sz="1800" b="1" dirty="0">
                <a:effectLst/>
              </a:rPr>
              <a:t>Background informatio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800" b="1" dirty="0"/>
              <a:t>2024 Aid Transparency Index assessment process and timeline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CH" sz="1800" b="1" dirty="0" err="1"/>
              <a:t>WHO’s</a:t>
            </a:r>
            <a:r>
              <a:rPr lang="fr-CH" sz="1800" b="1" dirty="0"/>
              <a:t> </a:t>
            </a:r>
            <a:r>
              <a:rPr lang="fr-CH" sz="1800" b="1" dirty="0" err="1"/>
              <a:t>current</a:t>
            </a:r>
            <a:r>
              <a:rPr lang="fr-CH" sz="1800" b="1" dirty="0"/>
              <a:t> publication pattern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CH" sz="1800" b="1" dirty="0" err="1"/>
              <a:t>Current</a:t>
            </a:r>
            <a:r>
              <a:rPr lang="fr-CH" sz="1800" b="1" dirty="0"/>
              <a:t> gap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220BC-E725-2538-13E2-5A4A6FBD3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CH" altLang="en-US" dirty="0">
                <a:effectLst/>
              </a:rPr>
              <a:t>Content</a:t>
            </a:r>
            <a:endParaRPr lang="fr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EF4F19-B816-D0DA-EA9F-BC46906BC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825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342B17-FC86-E8AC-8112-B30143676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5300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77410A-E865-921A-E9DD-E66AACEEC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 dirty="0"/>
              <a:t>Background information</a:t>
            </a:r>
            <a:endParaRPr lang="fr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74659-4607-8E38-AD8A-1479412627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23B137D4-0EE1-C5AE-D740-BE6757F805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94207990"/>
              </p:ext>
            </p:extLst>
          </p:nvPr>
        </p:nvGraphicFramePr>
        <p:xfrm>
          <a:off x="457200" y="1397675"/>
          <a:ext cx="11194869" cy="43499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122705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850F87-4A0E-5514-A8FF-2985526126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52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F87209-701D-E97D-0B31-2BDDBBBE0F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4 Aid Transparency Index assessment process and timeline</a:t>
            </a:r>
            <a:endParaRPr lang="fr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BD353A-E872-EC3B-E0A8-C03A6CFF1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FF7B8F8-E20D-60D9-3624-E3867137A6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168676"/>
              </p:ext>
            </p:extLst>
          </p:nvPr>
        </p:nvGraphicFramePr>
        <p:xfrm>
          <a:off x="5050971" y="1690688"/>
          <a:ext cx="6683828" cy="3298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EB86833A-22E8-1E5D-7CA0-F9903711D7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8307443"/>
              </p:ext>
            </p:extLst>
          </p:nvPr>
        </p:nvGraphicFramePr>
        <p:xfrm>
          <a:off x="457200" y="2174951"/>
          <a:ext cx="4184469" cy="2240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AB4CE42-56AD-351F-9EDC-D63DE9CF962E}"/>
              </a:ext>
            </a:extLst>
          </p:cNvPr>
          <p:cNvSpPr txBox="1"/>
          <p:nvPr/>
        </p:nvSpPr>
        <p:spPr>
          <a:xfrm>
            <a:off x="457200" y="1863634"/>
            <a:ext cx="4184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cope of assess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AA9ABD-E8C7-4F38-3726-A1FDB2AF20A1}"/>
              </a:ext>
            </a:extLst>
          </p:cNvPr>
          <p:cNvSpPr txBox="1"/>
          <p:nvPr/>
        </p:nvSpPr>
        <p:spPr>
          <a:xfrm>
            <a:off x="5050971" y="1805619"/>
            <a:ext cx="6683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ime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5E27D1A-035B-4F0B-84D2-0C7629DF84FC}"/>
              </a:ext>
            </a:extLst>
          </p:cNvPr>
          <p:cNvCxnSpPr>
            <a:cxnSpLocks/>
          </p:cNvCxnSpPr>
          <p:nvPr/>
        </p:nvCxnSpPr>
        <p:spPr>
          <a:xfrm>
            <a:off x="4833257" y="1515291"/>
            <a:ext cx="0" cy="4389120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7494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4F6D17-2CCC-7365-E8DA-55F6E1DC8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78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A45648-C6B8-A14A-55C1-53ADA63C9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 dirty="0"/>
              <a:t>WHO current publication patterns</a:t>
            </a:r>
            <a:endParaRPr lang="fr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7ED84D-EDE8-DDBE-9A2D-3D557A3ED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96CF5327-42FB-B70B-3C19-9D4EC7A59A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9225431"/>
              </p:ext>
            </p:extLst>
          </p:nvPr>
        </p:nvGraphicFramePr>
        <p:xfrm>
          <a:off x="457200" y="1690688"/>
          <a:ext cx="9296400" cy="3499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597766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9515C71-48F8-9A41-AB82-51D6F5584B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424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976B80-A3CD-254E-4266-ED12FA7FE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" dirty="0"/>
              <a:t>Current main gaps</a:t>
            </a:r>
            <a:endParaRPr lang="fr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936BD5-48C5-DBF8-0209-DB26891BB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6</a:t>
            </a:fld>
            <a:endParaRPr lang="en-US"/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B6C318CB-4E60-C328-BB4A-D3BE0E8A58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5657090"/>
              </p:ext>
            </p:extLst>
          </p:nvPr>
        </p:nvGraphicFramePr>
        <p:xfrm>
          <a:off x="457200" y="1911055"/>
          <a:ext cx="11277599" cy="2264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415911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50ZXNJDNGDm6QZR041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PTtemplate.potx" id="{0AC14570-E775-4516-8647-AD7B8B94C3BA}" vid="{D7331085-601D-43B5-8BA9-BED376562C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197ACF90868C4F9D6F8DFC6D331275" ma:contentTypeVersion="16" ma:contentTypeDescription="Create a new document." ma:contentTypeScope="" ma:versionID="e28347e62d814f7df4d8a93b180d21f4">
  <xsd:schema xmlns:xsd="http://www.w3.org/2001/XMLSchema" xmlns:xs="http://www.w3.org/2001/XMLSchema" xmlns:p="http://schemas.microsoft.com/office/2006/metadata/properties" xmlns:ns2="442d9681-7f4e-44c1-99f1-cff7cbfc79b5" xmlns:ns3="353d0dad-3a9b-4257-aac4-be4a80e234c2" targetNamespace="http://schemas.microsoft.com/office/2006/metadata/properties" ma:root="true" ma:fieldsID="d12eaf24a0206c25cf21f7b9e79b946c" ns2:_="" ns3:_="">
    <xsd:import namespace="442d9681-7f4e-44c1-99f1-cff7cbfc79b5"/>
    <xsd:import namespace="353d0dad-3a9b-4257-aac4-be4a80e234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2d9681-7f4e-44c1-99f1-cff7cbfc79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aa4eac88-8ae6-4a96-90c7-97bc93c844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3d0dad-3a9b-4257-aac4-be4a80e234c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ae68d23-865a-44ae-965e-fe8b62ea8e42}" ma:internalName="TaxCatchAll" ma:showField="CatchAllData" ma:web="353d0dad-3a9b-4257-aac4-be4a80e234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30B452-4036-4ECE-9E7F-4FA0C4C35448}"/>
</file>

<file path=customXml/itemProps2.xml><?xml version="1.0" encoding="utf-8"?>
<ds:datastoreItem xmlns:ds="http://schemas.openxmlformats.org/officeDocument/2006/customXml" ds:itemID="{8C00267D-D60F-4080-9FC1-E4947CEB9232}"/>
</file>

<file path=docProps/app.xml><?xml version="1.0" encoding="utf-8"?>
<Properties xmlns="http://schemas.openxmlformats.org/officeDocument/2006/extended-properties" xmlns:vt="http://schemas.openxmlformats.org/officeDocument/2006/docPropsVTypes">
  <Template>WHO_PPTtemplate</Template>
  <TotalTime>136</TotalTime>
  <Words>334</Words>
  <Application>Microsoft Office PowerPoint</Application>
  <PresentationFormat>Widescreen</PresentationFormat>
  <Paragraphs>4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2024 Aid Transparency Index </vt:lpstr>
      <vt:lpstr>Content</vt:lpstr>
      <vt:lpstr>Background information</vt:lpstr>
      <vt:lpstr>2024 Aid Transparency Index assessment process and timeline</vt:lpstr>
      <vt:lpstr>WHO current publication patterns</vt:lpstr>
      <vt:lpstr>Current main ga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4 Aid Transparency Index </dc:title>
  <dc:creator>ROVALETTI, Rafael</dc:creator>
  <cp:lastModifiedBy>ROVALETTI, Rafael</cp:lastModifiedBy>
  <cp:revision>1</cp:revision>
  <dcterms:created xsi:type="dcterms:W3CDTF">2023-09-13T08:16:08Z</dcterms:created>
  <dcterms:modified xsi:type="dcterms:W3CDTF">2023-09-13T10:32:45Z</dcterms:modified>
</cp:coreProperties>
</file>